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  <p:sldMasterId id="2147483701" r:id="rId5"/>
    <p:sldMasterId id="2147483740" r:id="rId6"/>
  </p:sldMasterIdLst>
  <p:notesMasterIdLst>
    <p:notesMasterId r:id="rId44"/>
  </p:notesMasterIdLst>
  <p:handoutMasterIdLst>
    <p:handoutMasterId r:id="rId45"/>
  </p:handoutMasterIdLst>
  <p:sldIdLst>
    <p:sldId id="4469" r:id="rId7"/>
    <p:sldId id="4691" r:id="rId8"/>
    <p:sldId id="4498" r:id="rId9"/>
    <p:sldId id="4503" r:id="rId10"/>
    <p:sldId id="4508" r:id="rId11"/>
    <p:sldId id="4722" r:id="rId12"/>
    <p:sldId id="4717" r:id="rId13"/>
    <p:sldId id="4710" r:id="rId14"/>
    <p:sldId id="4718" r:id="rId15"/>
    <p:sldId id="4711" r:id="rId16"/>
    <p:sldId id="4719" r:id="rId17"/>
    <p:sldId id="4712" r:id="rId18"/>
    <p:sldId id="4720" r:id="rId19"/>
    <p:sldId id="4724" r:id="rId20"/>
    <p:sldId id="4728" r:id="rId21"/>
    <p:sldId id="4721" r:id="rId22"/>
    <p:sldId id="4726" r:id="rId23"/>
    <p:sldId id="4727" r:id="rId24"/>
    <p:sldId id="4707" r:id="rId25"/>
    <p:sldId id="4706" r:id="rId26"/>
    <p:sldId id="4729" r:id="rId27"/>
    <p:sldId id="4730" r:id="rId28"/>
    <p:sldId id="4731" r:id="rId29"/>
    <p:sldId id="4705" r:id="rId30"/>
    <p:sldId id="4732" r:id="rId31"/>
    <p:sldId id="4703" r:id="rId32"/>
    <p:sldId id="4723" r:id="rId33"/>
    <p:sldId id="4472" r:id="rId34"/>
    <p:sldId id="4474" r:id="rId35"/>
    <p:sldId id="4708" r:id="rId36"/>
    <p:sldId id="4725" r:id="rId37"/>
    <p:sldId id="4547" r:id="rId38"/>
    <p:sldId id="4493" r:id="rId39"/>
    <p:sldId id="4552" r:id="rId40"/>
    <p:sldId id="4566" r:id="rId41"/>
    <p:sldId id="4701" r:id="rId42"/>
    <p:sldId id="453" r:id="rId43"/>
  </p:sldIdLst>
  <p:sldSz cx="12192000" cy="6858000"/>
  <p:notesSz cx="6808788" cy="99298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A2FB6A-FC0C-4011-D5E9-F92BEC907563}" name="Marohn, Sarina" initials="MS" userId="S::sarina.marohn@bauhaus-ag.de::3f200215-28b1-42dd-91b2-2b489ed80e15" providerId="AD"/>
  <p188:author id="{70D58CB1-92ED-6707-9F7A-FBBDB212794F}" name="Papst, Jens" initials="PJ" userId="S::Jens.Papst@bauhaus-ag.de::0deea373-805d-470c-9706-d083e1947c0b" providerId="AD"/>
  <p188:author id="{E9F613DC-3425-7D97-834B-C85E6A66F0B4}" name="Kotte, Philipp" initials="KP" userId="S::philipp.kotte@bauhaus-ag.de::1062f1c6-e907-480e-87ce-5510f553ee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sa Völk" initials="LV" lastIdx="8" clrIdx="0">
    <p:extLst>
      <p:ext uri="{19B8F6BF-5375-455C-9EA6-DF929625EA0E}">
        <p15:presenceInfo xmlns:p15="http://schemas.microsoft.com/office/powerpoint/2012/main" userId="S::lisa@erdtartworks.de::c058df69-b779-4228-940c-bb3cd75f39f9" providerId="AD"/>
      </p:ext>
    </p:extLst>
  </p:cmAuthor>
  <p:cmAuthor id="2" name="Grams, Maja" initials="GM" lastIdx="29" clrIdx="1">
    <p:extLst>
      <p:ext uri="{19B8F6BF-5375-455C-9EA6-DF929625EA0E}">
        <p15:presenceInfo xmlns:p15="http://schemas.microsoft.com/office/powerpoint/2012/main" userId="S::maja.grams@bahag.com::0f9ce132-03f0-4528-87e5-fa713a45e381" providerId="AD"/>
      </p:ext>
    </p:extLst>
  </p:cmAuthor>
  <p:cmAuthor id="3" name="Judith Sölter" initials="JS" lastIdx="4" clrIdx="2">
    <p:extLst>
      <p:ext uri="{19B8F6BF-5375-455C-9EA6-DF929625EA0E}">
        <p15:presenceInfo xmlns:p15="http://schemas.microsoft.com/office/powerpoint/2012/main" userId="S::judith.soelter@krauspartner.de::4bbad274-c489-48b0-9c25-c5e7cdee64b4" providerId="AD"/>
      </p:ext>
    </p:extLst>
  </p:cmAuthor>
  <p:cmAuthor id="4" name="Silke" initials="S" lastIdx="1" clrIdx="3">
    <p:extLst>
      <p:ext uri="{19B8F6BF-5375-455C-9EA6-DF929625EA0E}">
        <p15:presenceInfo xmlns:p15="http://schemas.microsoft.com/office/powerpoint/2012/main" userId="Silke" providerId="None"/>
      </p:ext>
    </p:extLst>
  </p:cmAuthor>
  <p:cmAuthor id="5" name="Hauk, Christoph" initials="HC" lastIdx="11" clrIdx="4">
    <p:extLst>
      <p:ext uri="{19B8F6BF-5375-455C-9EA6-DF929625EA0E}">
        <p15:presenceInfo xmlns:p15="http://schemas.microsoft.com/office/powerpoint/2012/main" userId="S::Christoph.Hauk@bahag.com::358683ec-40d3-4408-adfa-94f1f47eb2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2B3D"/>
    <a:srgbClr val="E8E8EB"/>
    <a:srgbClr val="000000"/>
    <a:srgbClr val="FFFFFF"/>
    <a:srgbClr val="494949"/>
    <a:srgbClr val="EFEFF0"/>
    <a:srgbClr val="88888A"/>
    <a:srgbClr val="DCDEE0"/>
    <a:srgbClr val="BFBFBF"/>
    <a:srgbClr val="ECED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10DF23-43F1-B61E-1246-8BAFF192B928}" v="14" dt="2024-01-08T10:59:53.717"/>
    <p1510:client id="{BAA0577A-9D9B-864D-C063-704B57AE3AC9}" v="8" dt="2024-01-08T11:13:35.3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72"/>
      </p:cViewPr>
      <p:guideLst>
        <p:guide orient="horz" pos="225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commentAuthors" Target="commentAuthor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D8F68FF-E0D8-4E70-ACC9-099B533EF4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783B87-C676-4DCF-BFC9-8B1EDB7D41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3C78F4-8E19-42B2-B999-C18E7C427BD5}" type="datetimeFigureOut">
              <a:rPr lang="de-DE" smtClean="0"/>
              <a:t>15.02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EC3A36-5189-4F82-B77C-9443F8F0B6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50475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F0B19E-45BC-4826-9C5D-C618D85C4B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737" y="9431600"/>
            <a:ext cx="2950475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4E9248-6EA8-4AA2-AFA3-F5E5B78B504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906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51959A-6B38-4103-BB19-6B96CBC2A079}" type="datetimeFigureOut">
              <a:rPr lang="de-DE" smtClean="0"/>
              <a:t>15.0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1241425"/>
            <a:ext cx="5954712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879" y="4778722"/>
            <a:ext cx="544703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50475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31600"/>
            <a:ext cx="2950475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0F434D-A963-4115-9E7C-D853D4F5772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0350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gkp.de.bauhaus.intra/bhs-pos-server/tenants/020/stores/666/SERVICES%7bRemoteProxy@2303bc8b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26551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2023-11-01 12:01:20.001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INF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{taskExecutor-51}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[001]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[</a:t>
            </a:r>
            <a:r>
              <a:rPr lang="de-DE" err="1"/>
              <a:t>RemoteClientService</a:t>
            </a:r>
            <a:r>
              <a:rPr lang="de-DE"/>
              <a:t>] </a:t>
            </a:r>
            <a:r>
              <a:rPr lang="de-DE" err="1"/>
              <a:t>IPingService.pingRequest</a:t>
            </a:r>
            <a:r>
              <a:rPr lang="de-DE"/>
              <a:t>(..) at http://DE0666SPOS20001:8080/</a:t>
            </a:r>
            <a:r>
              <a:rPr lang="de-DE" err="1"/>
              <a:t>swee</a:t>
            </a:r>
            <a:r>
              <a:rPr lang="de-DE"/>
              <a:t>-store-hub/</a:t>
            </a:r>
            <a:r>
              <a:rPr lang="de-DE" err="1"/>
              <a:t>rest</a:t>
            </a:r>
            <a:r>
              <a:rPr lang="de-DE"/>
              <a:t>/</a:t>
            </a:r>
            <a:r>
              <a:rPr lang="de-DE" err="1"/>
              <a:t>tx</a:t>
            </a:r>
            <a:r>
              <a:rPr lang="de-DE"/>
              <a:t>-pool{RemoteProxy@19aac9d0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ServerInstance</a:t>
            </a:r>
            <a:r>
              <a:rPr lang="de-DE"/>
              <a:t> [online=</a:t>
            </a:r>
            <a:r>
              <a:rPr lang="de-DE" err="1"/>
              <a:t>true</a:t>
            </a:r>
            <a:r>
              <a:rPr lang="de-DE"/>
              <a:t>, </a:t>
            </a:r>
            <a:r>
              <a:rPr lang="de-DE" err="1"/>
              <a:t>lastAccessTime</a:t>
            </a:r>
            <a:r>
              <a:rPr lang="de-DE"/>
              <a:t>=1698836460009, </a:t>
            </a:r>
            <a:r>
              <a:rPr lang="de-DE" err="1"/>
              <a:t>lastThrowable</a:t>
            </a:r>
            <a:r>
              <a:rPr lang="de-DE"/>
              <a:t>=</a:t>
            </a:r>
            <a:r>
              <a:rPr lang="de-DE" err="1"/>
              <a:t>RemoteClientServiceException</a:t>
            </a:r>
            <a:r>
              <a:rPr lang="de-DE"/>
              <a:t>, </a:t>
            </a:r>
            <a:r>
              <a:rPr lang="de-DE" err="1"/>
              <a:t>authority</a:t>
            </a:r>
            <a:r>
              <a:rPr lang="de-DE"/>
              <a:t>=DE0666SPOS20001:8080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HTTPConduit</a:t>
            </a:r>
            <a:r>
              <a:rPr lang="de-DE"/>
              <a:t> </a:t>
            </a:r>
            <a:r>
              <a:rPr lang="de-DE" err="1"/>
              <a:t>cookies</a:t>
            </a:r>
            <a:r>
              <a:rPr lang="de-DE"/>
              <a:t> = {JSESSIONID=9041CB76FCFE17506ECAD8F0C7B44AE8}}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241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0339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(348*4*60)+(955*4*6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95425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(348*4*60)+(955*4*6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1237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24585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0884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79064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- umständlich</a:t>
            </a:r>
          </a:p>
          <a:p>
            <a:r>
              <a:rPr lang="de-DE"/>
              <a:t>- Fehleranfällig</a:t>
            </a:r>
          </a:p>
          <a:p>
            <a:r>
              <a:rPr lang="de-DE"/>
              <a:t>- muss für jede Kasse neu ausgeführt werden</a:t>
            </a:r>
          </a:p>
          <a:p>
            <a:r>
              <a:rPr lang="de-DE"/>
              <a:t>- führt dazu, dass man sich den Befehl in den Notizen auf dem </a:t>
            </a:r>
            <a:r>
              <a:rPr lang="de-DE" err="1"/>
              <a:t>rechner</a:t>
            </a:r>
            <a:r>
              <a:rPr lang="de-DE"/>
              <a:t> aufschreibt </a:t>
            </a:r>
          </a:p>
          <a:p>
            <a:r>
              <a:rPr lang="de-DE"/>
              <a:t>- Die </a:t>
            </a:r>
            <a:r>
              <a:rPr lang="de-DE" err="1"/>
              <a:t>verbidungen</a:t>
            </a:r>
            <a:r>
              <a:rPr lang="de-DE"/>
              <a:t> werden meist nicht wieder geschlossen, -&gt; Verbindungen bis an die </a:t>
            </a:r>
            <a:r>
              <a:rPr lang="de-DE" err="1"/>
              <a:t>max</a:t>
            </a:r>
            <a:r>
              <a:rPr lang="de-DE"/>
              <a:t> </a:t>
            </a:r>
            <a:r>
              <a:rPr lang="de-DE" err="1"/>
              <a:t>auslastung</a:t>
            </a:r>
            <a:r>
              <a:rPr lang="de-DE"/>
              <a:t> der Kasse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08825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2538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8414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019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807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00700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02946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930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42398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0911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67029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52497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2435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6127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0683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rgbClr val="000000"/>
                </a:solidFill>
              </a:rPr>
              <a:t>Dieser dient lediglich zum sicherstellen, ob die Kasse noch online ist. Da es in dem Fall, dass die Kasse dies nicht mehr ist da ist ein Log auf Error-Level gibt, ist das für die Auswertung nicht notwendig. Sollte die Kasse für weniger als 15 </a:t>
            </a:r>
            <a:r>
              <a:rPr lang="de-DE" sz="1200" err="1">
                <a:solidFill>
                  <a:srgbClr val="000000"/>
                </a:solidFill>
              </a:rPr>
              <a:t>sekunden</a:t>
            </a:r>
            <a:r>
              <a:rPr lang="de-DE" sz="1200">
                <a:solidFill>
                  <a:srgbClr val="000000"/>
                </a:solidFill>
              </a:rPr>
              <a:t> offline gewesen sein und dies geloggt werden, verbleibt diese in dem reduzierten Lo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04437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2023-11-01 15:14:33.800 </a:t>
            </a:r>
          </a:p>
          <a:p>
            <a:r>
              <a:rPr lang="de-DE">
                <a:solidFill>
                  <a:srgbClr val="000000"/>
                </a:solidFill>
              </a:rPr>
              <a:t>INFO </a:t>
            </a:r>
          </a:p>
          <a:p>
            <a:r>
              <a:rPr lang="de-DE">
                <a:solidFill>
                  <a:srgbClr val="000000"/>
                </a:solidFill>
              </a:rPr>
              <a:t>{taskExecutor-scheduler-33} </a:t>
            </a:r>
          </a:p>
          <a:p>
            <a:r>
              <a:rPr lang="de-DE">
                <a:solidFill>
                  <a:srgbClr val="000000"/>
                </a:solidFill>
              </a:rPr>
              <a:t>[001] </a:t>
            </a:r>
          </a:p>
          <a:p>
            <a:r>
              <a:rPr lang="de-DE">
                <a:solidFill>
                  <a:srgbClr val="000000"/>
                </a:solidFill>
              </a:rPr>
              <a:t>[</a:t>
            </a:r>
            <a:r>
              <a:rPr lang="de-DE" err="1">
                <a:solidFill>
                  <a:srgbClr val="000000"/>
                </a:solidFill>
              </a:rPr>
              <a:t>RemoteClientService</a:t>
            </a:r>
            <a:r>
              <a:rPr lang="de-DE">
                <a:solidFill>
                  <a:srgbClr val="000000"/>
                </a:solidFill>
              </a:rPr>
              <a:t>] </a:t>
            </a:r>
          </a:p>
          <a:p>
            <a:r>
              <a:rPr lang="de-DE" err="1">
                <a:solidFill>
                  <a:srgbClr val="000000"/>
                </a:solidFill>
              </a:rPr>
              <a:t>LoginManagerRestApi.setWorkstationStatus</a:t>
            </a:r>
            <a:r>
              <a:rPr lang="de-DE">
                <a:solidFill>
                  <a:srgbClr val="000000"/>
                </a:solidFill>
              </a:rPr>
              <a:t>(..) </a:t>
            </a:r>
            <a:r>
              <a:rPr lang="de-DE" err="1">
                <a:solidFill>
                  <a:srgbClr val="000000"/>
                </a:solidFill>
              </a:rPr>
              <a:t>returned</a:t>
            </a:r>
            <a:r>
              <a:rPr lang="de-DE">
                <a:solidFill>
                  <a:srgbClr val="000000"/>
                </a:solidFill>
              </a:rPr>
              <a:t> </a:t>
            </a:r>
            <a:r>
              <a:rPr lang="de-DE" err="1">
                <a:solidFill>
                  <a:srgbClr val="000000"/>
                </a:solidFill>
              </a:rPr>
              <a:t>instance</a:t>
            </a:r>
            <a:r>
              <a:rPr lang="de-DE">
                <a:solidFill>
                  <a:srgbClr val="000000"/>
                </a:solidFill>
              </a:rPr>
              <a:t> </a:t>
            </a:r>
            <a:r>
              <a:rPr lang="de-DE" err="1">
                <a:solidFill>
                  <a:srgbClr val="000000"/>
                </a:solidFill>
              </a:rPr>
              <a:t>of</a:t>
            </a:r>
            <a:r>
              <a:rPr lang="de-DE">
                <a:solidFill>
                  <a:srgbClr val="000000"/>
                </a:solidFill>
              </a:rPr>
              <a:t> </a:t>
            </a:r>
            <a:r>
              <a:rPr lang="de-DE" err="1">
                <a:solidFill>
                  <a:srgbClr val="000000"/>
                </a:solidFill>
              </a:rPr>
              <a:t>WorkstationStatusResponse</a:t>
            </a:r>
            <a:r>
              <a:rPr lang="de-DE">
                <a:solidFill>
                  <a:srgbClr val="000000"/>
                </a:solidFill>
              </a:rPr>
              <a:t> at </a:t>
            </a:r>
            <a:r>
              <a:rPr lang="de-DE">
                <a:solidFill>
                  <a:srgbClr val="00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gkp.de.bauhaus.intra/bhs-pos-server/tenants/020/stores/666/SERVICES{RemoteProxy@2303bc8b</a:t>
            </a:r>
            <a:r>
              <a:rPr lang="de-DE">
                <a:solidFill>
                  <a:srgbClr val="000000"/>
                </a:solidFill>
              </a:rPr>
              <a:t>,</a:t>
            </a:r>
          </a:p>
          <a:p>
            <a:r>
              <a:rPr lang="de-DE" err="1">
                <a:solidFill>
                  <a:srgbClr val="000000"/>
                </a:solidFill>
              </a:rPr>
              <a:t>ServerInstance</a:t>
            </a:r>
            <a:r>
              <a:rPr lang="de-DE">
                <a:solidFill>
                  <a:srgbClr val="000000"/>
                </a:solidFill>
              </a:rPr>
              <a:t> [online=</a:t>
            </a:r>
            <a:r>
              <a:rPr lang="de-DE" err="1">
                <a:solidFill>
                  <a:srgbClr val="000000"/>
                </a:solidFill>
              </a:rPr>
              <a:t>true</a:t>
            </a:r>
            <a:r>
              <a:rPr lang="de-DE">
                <a:solidFill>
                  <a:srgbClr val="000000"/>
                </a:solidFill>
              </a:rPr>
              <a:t>, </a:t>
            </a:r>
            <a:r>
              <a:rPr lang="de-DE" err="1">
                <a:solidFill>
                  <a:srgbClr val="000000"/>
                </a:solidFill>
              </a:rPr>
              <a:t>lastAccessTime</a:t>
            </a:r>
            <a:r>
              <a:rPr lang="de-DE">
                <a:solidFill>
                  <a:srgbClr val="000000"/>
                </a:solidFill>
              </a:rPr>
              <a:t>=1698848058803, </a:t>
            </a:r>
            <a:r>
              <a:rPr lang="de-DE" err="1">
                <a:solidFill>
                  <a:srgbClr val="000000"/>
                </a:solidFill>
              </a:rPr>
              <a:t>lastThrowable</a:t>
            </a:r>
            <a:r>
              <a:rPr lang="de-DE">
                <a:solidFill>
                  <a:srgbClr val="000000"/>
                </a:solidFill>
              </a:rPr>
              <a:t>=null, </a:t>
            </a:r>
            <a:r>
              <a:rPr lang="de-DE" err="1">
                <a:solidFill>
                  <a:srgbClr val="000000"/>
                </a:solidFill>
              </a:rPr>
              <a:t>authority</a:t>
            </a:r>
            <a:r>
              <a:rPr lang="de-DE">
                <a:solidFill>
                  <a:srgbClr val="000000"/>
                </a:solidFill>
              </a:rPr>
              <a:t>=</a:t>
            </a:r>
            <a:r>
              <a:rPr lang="de-DE" err="1">
                <a:solidFill>
                  <a:srgbClr val="000000"/>
                </a:solidFill>
              </a:rPr>
              <a:t>gkp.de.bauhaus.intra</a:t>
            </a:r>
            <a:r>
              <a:rPr lang="de-DE">
                <a:solidFill>
                  <a:srgbClr val="000000"/>
                </a:solidFill>
              </a:rPr>
              <a:t>],</a:t>
            </a:r>
          </a:p>
          <a:p>
            <a:r>
              <a:rPr lang="de-DE" err="1">
                <a:solidFill>
                  <a:srgbClr val="000000"/>
                </a:solidFill>
              </a:rPr>
              <a:t>HTTPConduit</a:t>
            </a:r>
            <a:r>
              <a:rPr lang="de-DE">
                <a:solidFill>
                  <a:srgbClr val="000000"/>
                </a:solidFill>
              </a:rPr>
              <a:t> </a:t>
            </a:r>
            <a:r>
              <a:rPr lang="de-DE" err="1">
                <a:solidFill>
                  <a:srgbClr val="000000"/>
                </a:solidFill>
              </a:rPr>
              <a:t>cookies</a:t>
            </a:r>
            <a:r>
              <a:rPr lang="de-DE">
                <a:solidFill>
                  <a:srgbClr val="000000"/>
                </a:solidFill>
              </a:rPr>
              <a:t> = {JSESSIONID=TR2xnh4ZP2oHIc41eS5JxwRSUvGIiwFPcaon_SAPn0yrG-9rO4dgWs1Rs5dzKPVjsaplb_*=(J2EE665481520)665481551}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64374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9703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2023-11-01 15:14:33.73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INF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{taskExecutor-scheduler-33}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[001]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[</a:t>
            </a:r>
            <a:r>
              <a:rPr lang="de-DE" err="1"/>
              <a:t>RemoteClientService</a:t>
            </a:r>
            <a:r>
              <a:rPr lang="de-DE"/>
              <a:t>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 </a:t>
            </a:r>
            <a:r>
              <a:rPr lang="de-DE" err="1"/>
              <a:t>IMessageProvider.messages</a:t>
            </a:r>
            <a:r>
              <a:rPr lang="de-DE"/>
              <a:t>(..) </a:t>
            </a:r>
            <a:r>
              <a:rPr lang="de-DE" err="1"/>
              <a:t>returned</a:t>
            </a:r>
            <a:r>
              <a:rPr lang="de-DE"/>
              <a:t> </a:t>
            </a:r>
            <a:r>
              <a:rPr lang="de-DE" err="1"/>
              <a:t>instanc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MessagesResponse</a:t>
            </a:r>
            <a:r>
              <a:rPr lang="de-DE"/>
              <a:t> at http://.../</a:t>
            </a:r>
            <a:r>
              <a:rPr lang="de-DE" err="1"/>
              <a:t>command-channel</a:t>
            </a:r>
            <a:r>
              <a:rPr lang="de-DE"/>
              <a:t>{RemoteProxy@702b45e6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ServerInstance</a:t>
            </a:r>
            <a:r>
              <a:rPr lang="de-DE"/>
              <a:t> [online=</a:t>
            </a:r>
            <a:r>
              <a:rPr lang="de-DE" err="1"/>
              <a:t>true</a:t>
            </a:r>
            <a:r>
              <a:rPr lang="de-DE"/>
              <a:t>, </a:t>
            </a:r>
            <a:r>
              <a:rPr lang="de-DE" err="1"/>
              <a:t>lastAccessTime</a:t>
            </a:r>
            <a:r>
              <a:rPr lang="de-DE"/>
              <a:t>=1698848013734, </a:t>
            </a:r>
            <a:r>
              <a:rPr lang="de-DE" err="1"/>
              <a:t>lastThrowable</a:t>
            </a:r>
            <a:r>
              <a:rPr lang="de-DE"/>
              <a:t>=null, </a:t>
            </a:r>
            <a:r>
              <a:rPr lang="de-DE" err="1"/>
              <a:t>authority</a:t>
            </a:r>
            <a:r>
              <a:rPr lang="de-DE"/>
              <a:t>=DE0666SPOS20001:8080]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HTTPConduit</a:t>
            </a:r>
            <a:r>
              <a:rPr lang="de-DE"/>
              <a:t> </a:t>
            </a:r>
            <a:r>
              <a:rPr lang="de-DE" err="1"/>
              <a:t>cookies</a:t>
            </a:r>
            <a:r>
              <a:rPr lang="de-DE"/>
              <a:t> = {JSESSIONID=3E38AC271908893EFDA770B7F5D6C99E}}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9838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chemeClr val="tx1"/>
                </a:solidFill>
              </a:rPr>
              <a:t>Das Design Team spielt im Rollout keine separate Rolle und ist ausreichend durch das Führungs- und Kernteam vertret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F434D-A963-4115-9E7C-D853D4F5772E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7877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UHAUS Akademie Titelfolien &amp; 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4430A31-4B4B-4502-81A4-140E1ABC14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71475 w 12192000"/>
              <a:gd name="connsiteY0" fmla="*/ 5881331 h 6858000"/>
              <a:gd name="connsiteX1" fmla="*/ 371475 w 12192000"/>
              <a:gd name="connsiteY1" fmla="*/ 6606130 h 6858000"/>
              <a:gd name="connsiteX2" fmla="*/ 3240449 w 12192000"/>
              <a:gd name="connsiteY2" fmla="*/ 6606130 h 6858000"/>
              <a:gd name="connsiteX3" fmla="*/ 3240449 w 12192000"/>
              <a:gd name="connsiteY3" fmla="*/ 588133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71475" y="5881331"/>
                </a:moveTo>
                <a:lnTo>
                  <a:pt x="371475" y="6606130"/>
                </a:lnTo>
                <a:lnTo>
                  <a:pt x="3240449" y="6606130"/>
                </a:lnTo>
                <a:lnTo>
                  <a:pt x="3240449" y="588133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rcRect/>
            <a:stretch>
              <a:fillRect l="4" t="-19150" b="-19153"/>
            </a:stretch>
          </a:blipFill>
        </p:spPr>
        <p:txBody>
          <a:bodyPr wrap="square">
            <a:noAutofit/>
          </a:bodyPr>
          <a:lstStyle>
            <a:lvl1pPr marL="0" indent="0">
              <a:buClr>
                <a:schemeClr val="accent6"/>
              </a:buClr>
              <a:buFont typeface="Wingdings" panose="05000000000000000000" pitchFamily="2" charset="2"/>
              <a:buNone/>
              <a:defRPr sz="1800"/>
            </a:lvl1pPr>
          </a:lstStyle>
          <a:p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C8A2EADA-2A74-443D-B997-BDB46E1C49E0}"/>
              </a:ext>
            </a:extLst>
          </p:cNvPr>
          <p:cNvSpPr txBox="1">
            <a:spLocks/>
          </p:cNvSpPr>
          <p:nvPr userDrawn="1"/>
        </p:nvSpPr>
        <p:spPr>
          <a:xfrm>
            <a:off x="371475" y="5866710"/>
            <a:ext cx="2868974" cy="724799"/>
          </a:xfrm>
          <a:prstGeom prst="rect">
            <a:avLst/>
          </a:prstGeom>
          <a:solidFill>
            <a:schemeClr val="bg1"/>
          </a:solidFill>
        </p:spPr>
        <p:txBody>
          <a:bodyPr lIns="180000" tIns="72000" anchor="ctr"/>
          <a:lstStyle>
            <a:lvl1pPr marL="3600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Taz" panose="020B05030405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de-DE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A9647ED9-06D0-4CF7-A6CB-691A92015F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507490"/>
            <a:ext cx="6842457" cy="9144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>
              <a:buNone/>
              <a:defRPr sz="60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Hier ist Platz für</a:t>
            </a:r>
          </a:p>
        </p:txBody>
      </p:sp>
      <p:sp>
        <p:nvSpPr>
          <p:cNvPr id="25" name="Textplatzhalter 23">
            <a:extLst>
              <a:ext uri="{FF2B5EF4-FFF2-40B4-BE49-F238E27FC236}">
                <a16:creationId xmlns:a16="http://schemas.microsoft.com/office/drawing/2014/main" id="{F267FD43-3100-40E1-B5C5-DF207D073D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310455"/>
            <a:ext cx="9677098" cy="923330"/>
          </a:xfrm>
          <a:prstGeom prst="rect">
            <a:avLst/>
          </a:prstGeom>
          <a:solidFill>
            <a:schemeClr val="accent4"/>
          </a:solidFill>
        </p:spPr>
        <p:txBody>
          <a:bodyPr>
            <a:spAutoFit/>
          </a:bodyPr>
          <a:lstStyle>
            <a:lvl1pPr marL="0" indent="0">
              <a:buNone/>
              <a:defRPr sz="60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ine zweizeilige Headlin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CFFF80B9-9D00-4951-8843-D8DF55BD85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383" y="5930182"/>
            <a:ext cx="2659146" cy="28659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Datum, Ort</a:t>
            </a:r>
          </a:p>
        </p:txBody>
      </p:sp>
      <p:sp>
        <p:nvSpPr>
          <p:cNvPr id="29" name="Textplatzhalter 26">
            <a:extLst>
              <a:ext uri="{FF2B5EF4-FFF2-40B4-BE49-F238E27FC236}">
                <a16:creationId xmlns:a16="http://schemas.microsoft.com/office/drawing/2014/main" id="{802B743A-6E0F-4899-87FA-09D752ECF9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97609"/>
            <a:ext cx="2695242" cy="34210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4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de-DE"/>
              <a:t>Autoren &amp; Sprecher</a:t>
            </a:r>
          </a:p>
        </p:txBody>
      </p:sp>
    </p:spTree>
    <p:extLst>
      <p:ext uri="{BB962C8B-B14F-4D97-AF65-F5344CB8AC3E}">
        <p14:creationId xmlns:p14="http://schemas.microsoft.com/office/powerpoint/2010/main" val="2818915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ohne Konglome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5AB7921F-945B-494D-9C1D-51CAB822F0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5955040-6E92-4B45-9DCE-785373F221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AF9C79C-AA98-4883-857F-4E71E3FEEC3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45495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9EA6FFE-F85C-4117-8399-E60DAEBDF8C9}"/>
              </a:ext>
            </a:extLst>
          </p:cNvPr>
          <p:cNvSpPr/>
          <p:nvPr userDrawn="1"/>
        </p:nvSpPr>
        <p:spPr>
          <a:xfrm>
            <a:off x="9918290" y="5768975"/>
            <a:ext cx="2086625" cy="7555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E92AE3A-B072-44E5-ADA2-C213E9448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F69ADF5-FCCA-4C59-8CB5-5CCCD50DFE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1FEA230-4FD4-4B92-BE93-CFC16634EF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4313313-B6A0-4D48-A92D-B1073147EA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3012815-C738-4974-A9A6-DC291F5E36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7004174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68CFB74-5A9D-4EC9-8462-AECF539D3D1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430326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2628255-59D3-4846-92DF-6D330BA038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838" y="352580"/>
            <a:ext cx="6126162" cy="64235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49CB85C-29B5-4428-8AB8-0053B46A5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72A75F66-E446-4E83-80D6-DAF30255F9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5462202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983A1BA-82C2-4F41-AB84-A722C8510A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5462202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9F0DEFF-A084-44D3-83A0-A908B9645EA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5462202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C395FBC-E470-434C-98B5-EA464008470E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7371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abellenplatzhalter 10">
            <a:extLst>
              <a:ext uri="{FF2B5EF4-FFF2-40B4-BE49-F238E27FC236}">
                <a16:creationId xmlns:a16="http://schemas.microsoft.com/office/drawing/2014/main" id="{727330C5-8AF3-48C2-A860-8F50965ED3B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11438518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7EFB4C4D-999B-425A-9CB1-7B6B76C2BB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0D59A58B-308E-4570-9ED4-41C68545FE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664568C9-2351-4E77-A5F0-87BED65FD7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6FC9E24-E959-40CB-A0B3-468341785740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7827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96C6C9D-E0DB-4B4E-9FE1-CE4A8F5F33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51763" y="341466"/>
            <a:ext cx="4440237" cy="64278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1" name="Tabellenplatzhalter 10">
            <a:extLst>
              <a:ext uri="{FF2B5EF4-FFF2-40B4-BE49-F238E27FC236}">
                <a16:creationId xmlns:a16="http://schemas.microsoft.com/office/drawing/2014/main" id="{727330C5-8AF3-48C2-A860-8F50965ED3B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6652974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CD8A0E1-DFA2-46E5-9D1E-3FBEEF451B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168F6A2D-FF67-49EF-B8A9-0A18ABA123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6652974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7792D92-1855-44F2-B85D-AC7F720C40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6652974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4EE9879-BF22-4397-AC58-2DC3341B27D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63860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8A8D4D47-7124-483B-9D79-E89EF2A984FF}"/>
              </a:ext>
            </a:extLst>
          </p:cNvPr>
          <p:cNvSpPr/>
          <p:nvPr userDrawn="1"/>
        </p:nvSpPr>
        <p:spPr>
          <a:xfrm>
            <a:off x="9918290" y="5768975"/>
            <a:ext cx="2086625" cy="830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FD3F1A8-28AE-49AC-86D4-8A4B9D0958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B2AEB61-D38E-4ADD-A309-4340784C8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4" name="Grafik 102">
            <a:extLst>
              <a:ext uri="{FF2B5EF4-FFF2-40B4-BE49-F238E27FC236}">
                <a16:creationId xmlns:a16="http://schemas.microsoft.com/office/drawing/2014/main" id="{76A2AD03-BA70-4384-9944-9F58FFE04387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F7AEDC7A-C45F-4CE9-B60E-88377FAC1E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D3816AD-EA20-4659-B136-38B74FDF17B5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17E4358-CA8D-42CF-947B-77227FEA0B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782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Konglomer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1AF79D5F-D389-497D-858D-9FECCF7B97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7F51E608-AFB9-4C99-B490-54C03F6762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9" name="Grafik 102">
            <a:extLst>
              <a:ext uri="{FF2B5EF4-FFF2-40B4-BE49-F238E27FC236}">
                <a16:creationId xmlns:a16="http://schemas.microsoft.com/office/drawing/2014/main" id="{A3B1DDB2-88AF-48F1-9E98-F7AD40FBF43E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9FA8155-C470-417F-A871-0646FF0199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5895242-5735-461B-B096-F8606CABCFF2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937232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C8629E2-C8F4-4385-B86A-CE3A317DF1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089FC7AF-7259-43E2-A0E1-9D0E02757F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262DE3B2-CF40-4DCB-903D-92BF16557C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80F28D8-DFC2-47BD-8DE7-FAFB5EAC0D5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11459202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12" name="Grafik 102">
            <a:extLst>
              <a:ext uri="{FF2B5EF4-FFF2-40B4-BE49-F238E27FC236}">
                <a16:creationId xmlns:a16="http://schemas.microsoft.com/office/drawing/2014/main" id="{10B85510-81E8-42C0-AF97-F0CEAFDAEE68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C133F15-91FC-4313-8549-7FC00504B5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EA78243-37F2-4C53-8B0E-EC4C9727B56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69295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F167D7F5-4820-434D-AF02-3CD04DEBF2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62677529-E26E-497D-9F79-C0567C7967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E8DAC5A-515C-42FC-AB41-69B9A64AE0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A527161F-A85B-4A2C-8EB5-540CA4CB61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7004174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12" name="Grafik 102">
            <a:extLst>
              <a:ext uri="{FF2B5EF4-FFF2-40B4-BE49-F238E27FC236}">
                <a16:creationId xmlns:a16="http://schemas.microsoft.com/office/drawing/2014/main" id="{CB4BC075-B119-41FE-AD00-A6F1DB255EA2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CC33475-D266-4345-9F04-4DB14A0A55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95D377F-5CDA-40CC-93BD-6475B278021C}"/>
              </a:ext>
            </a:extLst>
          </p:cNvPr>
          <p:cNvSpPr/>
          <p:nvPr userDrawn="1"/>
        </p:nvSpPr>
        <p:spPr>
          <a:xfrm>
            <a:off x="9918290" y="5768975"/>
            <a:ext cx="2086625" cy="86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41D9122-A78B-4167-BB9E-FA8F166E982F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81B0326-2DB0-4721-81C5-E8920A946C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273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fik 102">
            <a:extLst>
              <a:ext uri="{FF2B5EF4-FFF2-40B4-BE49-F238E27FC236}">
                <a16:creationId xmlns:a16="http://schemas.microsoft.com/office/drawing/2014/main" id="{AFB81762-908A-4615-AE15-2ECC6D41D0BA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DE5D815-B764-4DCC-953D-320197B4CE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BB057AB0-16D0-4380-91F2-5C78B80C1A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5462202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51D608B-32F4-4D13-9ACF-7BB9D25E79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5462202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7" name="Bildplatzhalter 13">
            <a:extLst>
              <a:ext uri="{FF2B5EF4-FFF2-40B4-BE49-F238E27FC236}">
                <a16:creationId xmlns:a16="http://schemas.microsoft.com/office/drawing/2014/main" id="{12A6180E-C870-487F-9203-974041E2F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838" y="352580"/>
            <a:ext cx="6126162" cy="64167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ACEB80BD-4979-4787-89F4-C1E06981AEB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5462202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5AE9890-9BA2-4689-9831-DB07C44E90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5D02182-631C-43ED-9BB2-06E76C4677A6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1385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EE761D09-CE7C-4E7D-9FAC-3BFB4D4918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71475 w 12192000"/>
              <a:gd name="connsiteY0" fmla="*/ 5881331 h 6858000"/>
              <a:gd name="connsiteX1" fmla="*/ 371475 w 12192000"/>
              <a:gd name="connsiteY1" fmla="*/ 6606130 h 6858000"/>
              <a:gd name="connsiteX2" fmla="*/ 3240449 w 12192000"/>
              <a:gd name="connsiteY2" fmla="*/ 6606130 h 6858000"/>
              <a:gd name="connsiteX3" fmla="*/ 3240449 w 12192000"/>
              <a:gd name="connsiteY3" fmla="*/ 588133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71475" y="5881331"/>
                </a:moveTo>
                <a:lnTo>
                  <a:pt x="371475" y="6606130"/>
                </a:lnTo>
                <a:lnTo>
                  <a:pt x="3240449" y="6606130"/>
                </a:lnTo>
                <a:lnTo>
                  <a:pt x="3240449" y="588133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rcRect/>
            <a:stretch>
              <a:fillRect l="5" t="-19151" r="-2" b="-19154"/>
            </a:stretch>
          </a:blipFill>
        </p:spPr>
        <p:txBody>
          <a:bodyPr wrap="square">
            <a:noAutofit/>
          </a:bodyPr>
          <a:lstStyle>
            <a:lvl1pPr marL="0" indent="0">
              <a:buClr>
                <a:schemeClr val="accent6"/>
              </a:buClr>
              <a:buFont typeface="Wingdings" panose="05000000000000000000" pitchFamily="2" charset="2"/>
              <a:buNone/>
              <a:defRPr sz="1800"/>
            </a:lvl1pPr>
          </a:lstStyle>
          <a:p>
            <a:endParaRPr lang="de-DE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D0FA8202-289C-4D1E-A975-3CF708317E93}"/>
              </a:ext>
            </a:extLst>
          </p:cNvPr>
          <p:cNvSpPr txBox="1">
            <a:spLocks/>
          </p:cNvSpPr>
          <p:nvPr userDrawn="1"/>
        </p:nvSpPr>
        <p:spPr>
          <a:xfrm>
            <a:off x="371475" y="5866710"/>
            <a:ext cx="2868974" cy="724799"/>
          </a:xfrm>
          <a:prstGeom prst="rect">
            <a:avLst/>
          </a:prstGeom>
          <a:solidFill>
            <a:schemeClr val="bg1"/>
          </a:solidFill>
        </p:spPr>
        <p:txBody>
          <a:bodyPr lIns="180000" tIns="72000" anchor="ctr"/>
          <a:lstStyle>
            <a:lvl1pPr marL="36000" indent="0" algn="l" defTabSz="914400" rtl="0" eaLnBrk="1" latinLnBrk="0" hangingPunct="1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Taz" panose="020B05030405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endParaRPr lang="de-DE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0E597A48-E6CF-47FC-A177-1B09A7BC35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1383" y="5930182"/>
            <a:ext cx="2659146" cy="28659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/>
              <a:t>Datum, Ort</a:t>
            </a:r>
          </a:p>
        </p:txBody>
      </p:sp>
      <p:sp>
        <p:nvSpPr>
          <p:cNvPr id="12" name="Textplatzhalter 26">
            <a:extLst>
              <a:ext uri="{FF2B5EF4-FFF2-40B4-BE49-F238E27FC236}">
                <a16:creationId xmlns:a16="http://schemas.microsoft.com/office/drawing/2014/main" id="{9680B782-38A2-4EE9-B064-40C9D56B1E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97609"/>
            <a:ext cx="2695242" cy="34210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24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de-DE"/>
              <a:t>Autoren &amp; Sprech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6B8436-78B5-49BE-8CA1-1FF247A291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344164"/>
            <a:ext cx="6304779" cy="69766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4800" cap="all" baseline="0"/>
            </a:lvl1pPr>
          </a:lstStyle>
          <a:p>
            <a:pPr lvl="0"/>
            <a:r>
              <a:rPr lang="de-DE"/>
              <a:t>Hier steht eine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382257AD-898A-40B5-8B09-B6F08BC405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921580"/>
            <a:ext cx="9425824" cy="914096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buNone/>
              <a:defRPr sz="6600" b="1" cap="all" baseline="0">
                <a:latin typeface="+mj-lt"/>
              </a:defRPr>
            </a:lvl1pPr>
          </a:lstStyle>
          <a:p>
            <a:pPr lvl="0"/>
            <a:r>
              <a:rPr lang="de-DE"/>
              <a:t>Hier steht eine Headline</a:t>
            </a:r>
          </a:p>
        </p:txBody>
      </p:sp>
    </p:spTree>
    <p:extLst>
      <p:ext uri="{BB962C8B-B14F-4D97-AF65-F5344CB8AC3E}">
        <p14:creationId xmlns:p14="http://schemas.microsoft.com/office/powerpoint/2010/main" val="2337435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FC6AF16-DD3B-4CF6-9E25-C7377F6481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5518976A-F517-4DF7-8BE6-ADA000D775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101C3DD5-B18D-4B35-BFDE-55C27F81C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9" name="Tabellenplatzhalter 10">
            <a:extLst>
              <a:ext uri="{FF2B5EF4-FFF2-40B4-BE49-F238E27FC236}">
                <a16:creationId xmlns:a16="http://schemas.microsoft.com/office/drawing/2014/main" id="{1DCE4405-1ACE-47E6-A9C0-B5740705ABC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11438518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3" name="Grafik 102">
            <a:extLst>
              <a:ext uri="{FF2B5EF4-FFF2-40B4-BE49-F238E27FC236}">
                <a16:creationId xmlns:a16="http://schemas.microsoft.com/office/drawing/2014/main" id="{7E129E6D-96F7-412F-A960-3073014E4AE1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2C274B1C-B2CF-4DF6-85FA-9BE1E8DE54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BB9BB9D-BD47-4F08-A427-E543953F304C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733980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EA466D13-9695-4DCA-9400-DDC970F716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5209DBB-0797-4103-ABD8-B8CE29FEE7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6652974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12B2D663-8F41-43FC-AF93-41FB859A05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6652974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434633D3-2E2D-4FAB-8C5F-6399BFACB6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51763" y="341466"/>
            <a:ext cx="4440237" cy="6420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6" name="Tabellenplatzhalter 10">
            <a:extLst>
              <a:ext uri="{FF2B5EF4-FFF2-40B4-BE49-F238E27FC236}">
                <a16:creationId xmlns:a16="http://schemas.microsoft.com/office/drawing/2014/main" id="{CBA99C53-1EF6-4445-9131-D7E4DB2C4A0A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6652974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4" name="Grafik 102">
            <a:extLst>
              <a:ext uri="{FF2B5EF4-FFF2-40B4-BE49-F238E27FC236}">
                <a16:creationId xmlns:a16="http://schemas.microsoft.com/office/drawing/2014/main" id="{BAB47B5C-E6C9-478E-A184-C21D5006AB68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722BBD5-75B9-4DE6-B619-20397CD252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0B9068C-87A6-4E24-B97E-5BE83E6CD12F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260317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7906778-A9D5-43FA-A397-7097F63E8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B632BE0A-1203-44DB-A906-B10FE361E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BF88251-01D9-470C-90C7-C29B76B63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14" name="Diagrammplatzhalter 2">
            <a:extLst>
              <a:ext uri="{FF2B5EF4-FFF2-40B4-BE49-F238E27FC236}">
                <a16:creationId xmlns:a16="http://schemas.microsoft.com/office/drawing/2014/main" id="{A78BE90E-8432-47D3-BAD3-2EF84A49043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82588" y="1916113"/>
            <a:ext cx="11437937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0" name="Grafik 102">
            <a:extLst>
              <a:ext uri="{FF2B5EF4-FFF2-40B4-BE49-F238E27FC236}">
                <a16:creationId xmlns:a16="http://schemas.microsoft.com/office/drawing/2014/main" id="{478B4EEA-4F3D-45E5-ADFD-E6123B4D74A8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86A76C5-3DF4-4CB8-BA58-8AA6E9045B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0A19A1C-AC22-4E34-A15E-AD437FE2FE8D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61955373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1AF79D5F-D389-497D-858D-9FECCF7B97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2" name="Grafik 102">
            <a:extLst>
              <a:ext uri="{FF2B5EF4-FFF2-40B4-BE49-F238E27FC236}">
                <a16:creationId xmlns:a16="http://schemas.microsoft.com/office/drawing/2014/main" id="{6F62831D-4849-47A2-B551-3C4F9DCE9816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6D001885-1A12-4BF9-B3E7-C84ED92C4F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68C1C6-6BE0-45E2-A880-FF040E65C4B8}"/>
              </a:ext>
            </a:extLst>
          </p:cNvPr>
          <p:cNvSpPr/>
          <p:nvPr userDrawn="1"/>
        </p:nvSpPr>
        <p:spPr>
          <a:xfrm>
            <a:off x="9918290" y="5768975"/>
            <a:ext cx="2086625" cy="77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0F278C6-FB86-4321-B49E-9F0942DE436D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C7E796B-332A-4D94-81C0-DD3051C475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1213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zweizeilig ohne Konglome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1AF79D5F-D389-497D-858D-9FECCF7B97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9" name="Grafik 102">
            <a:extLst>
              <a:ext uri="{FF2B5EF4-FFF2-40B4-BE49-F238E27FC236}">
                <a16:creationId xmlns:a16="http://schemas.microsoft.com/office/drawing/2014/main" id="{998E446C-6EDF-4F64-9BE1-A72FB757A396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493FAA0-C3CE-4135-8C1D-13F5742CFE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6E64165-A14A-4BD7-92F1-B38787824B1C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323098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C8629E2-C8F4-4385-B86A-CE3A317DF1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EE738763-D4EF-4A91-B9C4-374DAC386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08EEE118-F4FC-4C09-87D3-E55ED8D4F2E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11459202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7" name="Grafik 102">
            <a:extLst>
              <a:ext uri="{FF2B5EF4-FFF2-40B4-BE49-F238E27FC236}">
                <a16:creationId xmlns:a16="http://schemas.microsoft.com/office/drawing/2014/main" id="{05E427BC-86D3-4DB4-8432-02FCF73E2231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F43ED503-7BCA-4EC1-814F-DCEA319D62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6F5C101-3DC1-4C81-B825-CA23E3104AFD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476070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zeilig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F167D7F5-4820-434D-AF02-3CD04DEBF2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7142B2DA-2DBD-48DA-B91B-DAD6A1B246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87EECF3-FBFF-4464-BBC7-3AC728F624D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7004174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15" name="Grafik 102">
            <a:extLst>
              <a:ext uri="{FF2B5EF4-FFF2-40B4-BE49-F238E27FC236}">
                <a16:creationId xmlns:a16="http://schemas.microsoft.com/office/drawing/2014/main" id="{FD357BE5-753F-4F17-A58B-E0BDDB2887A5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0012C2C7-555F-41D1-AEA6-8AE2CE1C14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4E0A8F5-5E66-4A5E-8108-30D7A74070C7}"/>
              </a:ext>
            </a:extLst>
          </p:cNvPr>
          <p:cNvSpPr/>
          <p:nvPr userDrawn="1"/>
        </p:nvSpPr>
        <p:spPr>
          <a:xfrm>
            <a:off x="9918290" y="5768975"/>
            <a:ext cx="2086625" cy="830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F4B7377-9C38-45AF-9CF9-94129A47B016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4322786-4DDA-417E-AD25-0EE52DEB2A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9135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zeilig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DE5D815-B764-4DCC-953D-320197B4CE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421BC73D-E817-47C0-AE4D-B5D0CCC98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5462202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id="{F206A46C-B6CD-4581-A724-F76E47FB01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5838" y="352580"/>
            <a:ext cx="6126162" cy="6409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BE81859-D39B-44F3-A7FC-56B21DCFED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1323" y="1884213"/>
            <a:ext cx="5462202" cy="3884761"/>
          </a:xfrm>
          <a:prstGeom prst="rect">
            <a:avLst/>
          </a:prstGeom>
        </p:spPr>
        <p:txBody>
          <a:bodyPr lIns="0" tIns="0" rIns="0" bIns="72000"/>
          <a:lstStyle>
            <a:lvl1pPr marL="265113" indent="-2651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  <a:lvl2pPr marL="542925" indent="-277813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Symbol" panose="05050102010706020507" pitchFamily="18" charset="2"/>
              <a:buChar char="-"/>
              <a:defRPr sz="1800"/>
            </a:lvl2pPr>
            <a:lvl3pPr marL="914400" indent="0">
              <a:lnSpc>
                <a:spcPct val="100000"/>
              </a:lnSpc>
              <a:spcBef>
                <a:spcPts val="1200"/>
              </a:spcBef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de-DE"/>
          </a:p>
        </p:txBody>
      </p:sp>
      <p:sp>
        <p:nvSpPr>
          <p:cNvPr id="9" name="Grafik 102">
            <a:extLst>
              <a:ext uri="{FF2B5EF4-FFF2-40B4-BE49-F238E27FC236}">
                <a16:creationId xmlns:a16="http://schemas.microsoft.com/office/drawing/2014/main" id="{EA12E149-7584-4076-ACEF-10F802EA26CB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B142FA8-A076-45A7-99A2-44D03E78E1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6E82E70-1100-4263-8B36-EA1BA99C3E39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837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zeilig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FC6AF16-DD3B-4CF6-9E25-C7377F6481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7334DA99-0968-4052-B799-FE2D05ABBC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3" name="Tabellenplatzhalter 10">
            <a:extLst>
              <a:ext uri="{FF2B5EF4-FFF2-40B4-BE49-F238E27FC236}">
                <a16:creationId xmlns:a16="http://schemas.microsoft.com/office/drawing/2014/main" id="{DE72D082-82DC-48D9-998E-8246F7965811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11438518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7" name="Grafik 102">
            <a:extLst>
              <a:ext uri="{FF2B5EF4-FFF2-40B4-BE49-F238E27FC236}">
                <a16:creationId xmlns:a16="http://schemas.microsoft.com/office/drawing/2014/main" id="{EEFED46E-D8F3-464B-A0C0-BDDD87349605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266BF079-288E-4D68-B2E7-578D35A8C4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FDD2F33-E659-40AC-9D28-9C352B33621C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207511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zeilig, Tabell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EA466D13-9695-4DCA-9400-DDC970F716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4734160-D1F4-44D3-BC63-9B35780D4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6652974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4" name="Bildplatzhalter 2">
            <a:extLst>
              <a:ext uri="{FF2B5EF4-FFF2-40B4-BE49-F238E27FC236}">
                <a16:creationId xmlns:a16="http://schemas.microsoft.com/office/drawing/2014/main" id="{CA7518C8-6E8C-477C-9C11-17E8073F0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51763" y="341467"/>
            <a:ext cx="4440237" cy="6434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5" name="Tabellenplatzhalter 10">
            <a:extLst>
              <a:ext uri="{FF2B5EF4-FFF2-40B4-BE49-F238E27FC236}">
                <a16:creationId xmlns:a16="http://schemas.microsoft.com/office/drawing/2014/main" id="{6BC198E5-0735-4A80-A994-D27B40F462C4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82007" y="1916113"/>
            <a:ext cx="6652974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8" name="Grafik 102">
            <a:extLst>
              <a:ext uri="{FF2B5EF4-FFF2-40B4-BE49-F238E27FC236}">
                <a16:creationId xmlns:a16="http://schemas.microsoft.com/office/drawing/2014/main" id="{38017066-1AE7-4F71-A83D-BE8ECA9169AD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57B228B3-281E-40E4-A8FE-3946D3C2C7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C2B383A-E9C4-4697-9224-A3CE530AECE6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0317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CB8A5AF-ECF3-46FD-8159-84E024EDA5A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1476" y="333375"/>
            <a:ext cx="11449050" cy="6191250"/>
          </a:xfrm>
          <a:custGeom>
            <a:avLst/>
            <a:gdLst>
              <a:gd name="connsiteX0" fmla="*/ 0 w 11449050"/>
              <a:gd name="connsiteY0" fmla="*/ 0 h 6191250"/>
              <a:gd name="connsiteX1" fmla="*/ 11449050 w 11449050"/>
              <a:gd name="connsiteY1" fmla="*/ 0 h 6191250"/>
              <a:gd name="connsiteX2" fmla="*/ 11449050 w 11449050"/>
              <a:gd name="connsiteY2" fmla="*/ 6191250 h 6191250"/>
              <a:gd name="connsiteX3" fmla="*/ 0 w 11449050"/>
              <a:gd name="connsiteY3" fmla="*/ 6191250 h 6191250"/>
              <a:gd name="connsiteX4" fmla="*/ 0 w 11449050"/>
              <a:gd name="connsiteY4" fmla="*/ 5216268 h 6191250"/>
              <a:gd name="connsiteX5" fmla="*/ 4333529 w 11449050"/>
              <a:gd name="connsiteY5" fmla="*/ 5216268 h 6191250"/>
              <a:gd name="connsiteX6" fmla="*/ 4333529 w 11449050"/>
              <a:gd name="connsiteY6" fmla="*/ 3557879 h 6191250"/>
              <a:gd name="connsiteX7" fmla="*/ 0 w 11449050"/>
              <a:gd name="connsiteY7" fmla="*/ 3557879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49050" h="6191250">
                <a:moveTo>
                  <a:pt x="0" y="0"/>
                </a:moveTo>
                <a:lnTo>
                  <a:pt x="11449050" y="0"/>
                </a:lnTo>
                <a:lnTo>
                  <a:pt x="11449050" y="6191250"/>
                </a:lnTo>
                <a:lnTo>
                  <a:pt x="0" y="6191250"/>
                </a:lnTo>
                <a:lnTo>
                  <a:pt x="0" y="5216268"/>
                </a:lnTo>
                <a:lnTo>
                  <a:pt x="4333529" y="5216268"/>
                </a:lnTo>
                <a:lnTo>
                  <a:pt x="4333529" y="3557879"/>
                </a:lnTo>
                <a:lnTo>
                  <a:pt x="0" y="3557879"/>
                </a:lnTo>
                <a:close/>
              </a:path>
            </a:pathLst>
          </a:custGeom>
          <a:blipFill>
            <a:blip r:embed="rId2"/>
            <a:srcRect/>
            <a:stretch>
              <a:fillRect t="-11626" b="-11624"/>
            </a:stretch>
          </a:blipFill>
        </p:spPr>
        <p:txBody>
          <a:bodyPr wrap="square">
            <a:noAutofit/>
          </a:bodyPr>
          <a:lstStyle>
            <a:lvl1pPr marL="0" indent="0">
              <a:buClr>
                <a:schemeClr val="accent6"/>
              </a:buClr>
              <a:buFont typeface="Wingdings" panose="05000000000000000000" pitchFamily="2" charset="2"/>
              <a:buNone/>
              <a:defRPr sz="1800"/>
            </a:lvl1pPr>
          </a:lstStyle>
          <a:p>
            <a:endParaRPr lang="de-DE"/>
          </a:p>
        </p:txBody>
      </p:sp>
      <p:sp>
        <p:nvSpPr>
          <p:cNvPr id="11" name="Rechteck: eine Ecke abgeschnitten 10">
            <a:extLst>
              <a:ext uri="{FF2B5EF4-FFF2-40B4-BE49-F238E27FC236}">
                <a16:creationId xmlns:a16="http://schemas.microsoft.com/office/drawing/2014/main" id="{10FD1872-81CF-477E-882D-2309E2C274DA}"/>
              </a:ext>
            </a:extLst>
          </p:cNvPr>
          <p:cNvSpPr/>
          <p:nvPr userDrawn="1"/>
        </p:nvSpPr>
        <p:spPr>
          <a:xfrm>
            <a:off x="0" y="3891254"/>
            <a:ext cx="4705004" cy="1658389"/>
          </a:xfrm>
          <a:prstGeom prst="snip1Rect">
            <a:avLst>
              <a:gd name="adj" fmla="val 0"/>
            </a:avLst>
          </a:prstGeom>
          <a:solidFill>
            <a:srgbClr val="EE1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F43CE62-BA6F-4BED-B925-92AAFF45D4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54" t="14856" r="28824" b="15562"/>
          <a:stretch/>
        </p:blipFill>
        <p:spPr>
          <a:xfrm>
            <a:off x="233916" y="4231758"/>
            <a:ext cx="707236" cy="967563"/>
          </a:xfrm>
          <a:prstGeom prst="rect">
            <a:avLst/>
          </a:prstGeom>
        </p:spPr>
      </p:pic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BAF58D51-270C-4E92-95BD-69486B42F8AB}"/>
              </a:ext>
            </a:extLst>
          </p:cNvPr>
          <p:cNvSpPr txBox="1">
            <a:spLocks/>
          </p:cNvSpPr>
          <p:nvPr userDrawn="1"/>
        </p:nvSpPr>
        <p:spPr>
          <a:xfrm>
            <a:off x="941152" y="4090447"/>
            <a:ext cx="2482450" cy="126000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4000" b="1" cap="all">
                <a:solidFill>
                  <a:schemeClr val="bg1"/>
                </a:solidFill>
                <a:latin typeface="+mj-lt"/>
              </a:rPr>
              <a:t>Kapitel</a:t>
            </a:r>
          </a:p>
          <a:p>
            <a:pPr algn="l"/>
            <a:endParaRPr lang="de-DE" sz="2800" cap="all">
              <a:solidFill>
                <a:schemeClr val="bg1"/>
              </a:solidFill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A119DAC4-710A-4B1D-8CE1-4615B05D29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582" y="4843203"/>
            <a:ext cx="3589125" cy="42060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Ipsum</a:t>
            </a:r>
          </a:p>
        </p:txBody>
      </p:sp>
    </p:spTree>
    <p:extLst>
      <p:ext uri="{BB962C8B-B14F-4D97-AF65-F5344CB8AC3E}">
        <p14:creationId xmlns:p14="http://schemas.microsoft.com/office/powerpoint/2010/main" val="2631907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zeilig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7906778-A9D5-43FA-A397-7097F63E8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9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322D647-3555-4507-B93A-30E945CBEE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007" y="755187"/>
            <a:ext cx="11438518" cy="775597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Mastertextformat bearbeiten</a:t>
            </a:r>
            <a:br>
              <a:rPr lang="de-DE"/>
            </a:br>
            <a:r>
              <a:rPr lang="de-DE"/>
              <a:t>Mastertextformat bearbeiten</a:t>
            </a:r>
          </a:p>
        </p:txBody>
      </p:sp>
      <p:sp>
        <p:nvSpPr>
          <p:cNvPr id="10" name="Diagrammplatzhalter 2">
            <a:extLst>
              <a:ext uri="{FF2B5EF4-FFF2-40B4-BE49-F238E27FC236}">
                <a16:creationId xmlns:a16="http://schemas.microsoft.com/office/drawing/2014/main" id="{15C28C5A-F5F4-49EE-BA7B-D9F340BFC6D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82588" y="1916113"/>
            <a:ext cx="11437937" cy="385286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6"/>
              </a:buClr>
              <a:buFont typeface="Wingdings" panose="05000000000000000000" pitchFamily="2" charset="2"/>
              <a:buChar char="§"/>
              <a:defRPr sz="1800"/>
            </a:lvl1pPr>
          </a:lstStyle>
          <a:p>
            <a:endParaRPr lang="de-DE"/>
          </a:p>
        </p:txBody>
      </p:sp>
      <p:sp>
        <p:nvSpPr>
          <p:cNvPr id="13" name="Grafik 102">
            <a:extLst>
              <a:ext uri="{FF2B5EF4-FFF2-40B4-BE49-F238E27FC236}">
                <a16:creationId xmlns:a16="http://schemas.microsoft.com/office/drawing/2014/main" id="{C684A553-9C68-4360-9DC9-2A4A2E53CE4E}"/>
              </a:ext>
            </a:extLst>
          </p:cNvPr>
          <p:cNvSpPr/>
          <p:nvPr userDrawn="1"/>
        </p:nvSpPr>
        <p:spPr>
          <a:xfrm>
            <a:off x="373160" y="308157"/>
            <a:ext cx="295200" cy="295200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BFB584-3A8B-4CA3-B8E6-339990FF3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584" y="317258"/>
            <a:ext cx="28635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1</a:t>
            </a:r>
            <a:endParaRPr lang="en-US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B8AB7E4-FF63-4D54-8217-BFDF9C3C2D6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9380421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arallelogramm 18">
            <a:extLst>
              <a:ext uri="{FF2B5EF4-FFF2-40B4-BE49-F238E27FC236}">
                <a16:creationId xmlns:a16="http://schemas.microsoft.com/office/drawing/2014/main" id="{4615460F-C88C-471F-AA2D-406A42A157FD}"/>
              </a:ext>
            </a:extLst>
          </p:cNvPr>
          <p:cNvSpPr/>
          <p:nvPr userDrawn="1"/>
        </p:nvSpPr>
        <p:spPr bwMode="auto">
          <a:xfrm>
            <a:off x="9090523" y="1052042"/>
            <a:ext cx="1536759" cy="373533"/>
          </a:xfrm>
          <a:prstGeom prst="parallelogram">
            <a:avLst>
              <a:gd name="adj" fmla="val 71855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05AF1A9-3712-45C7-96D0-5F6E82E93F82}"/>
              </a:ext>
            </a:extLst>
          </p:cNvPr>
          <p:cNvSpPr/>
          <p:nvPr userDrawn="1"/>
        </p:nvSpPr>
        <p:spPr>
          <a:xfrm rot="10800000" flipV="1">
            <a:off x="9931565" y="4360336"/>
            <a:ext cx="1012433" cy="381766"/>
          </a:xfrm>
          <a:prstGeom prst="parallelogram">
            <a:avLst>
              <a:gd name="adj" fmla="val 70084"/>
            </a:avLst>
          </a:prstGeom>
          <a:solidFill>
            <a:srgbClr val="161C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2FAC933E-C82A-474E-80D5-55E3CA4EB2C5}"/>
              </a:ext>
            </a:extLst>
          </p:cNvPr>
          <p:cNvSpPr/>
          <p:nvPr userDrawn="1"/>
        </p:nvSpPr>
        <p:spPr>
          <a:xfrm rot="10800000" flipV="1">
            <a:off x="8745069" y="4360336"/>
            <a:ext cx="1850867" cy="763535"/>
          </a:xfrm>
          <a:prstGeom prst="parallelogram">
            <a:avLst>
              <a:gd name="adj" fmla="val 70943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9B59CBF9-45ED-4608-9212-F9FEE2A9B4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CAE7A8-EC68-4F89-9A78-CF537D4879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© Dr. Kraus &amp; Partner | </a:t>
            </a:r>
            <a:r>
              <a:rPr lang="de-DE" err="1"/>
              <a:t>UnITe</a:t>
            </a:r>
            <a:r>
              <a:rPr lang="de-DE"/>
              <a:t> Rollout-Konzept</a:t>
            </a:r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CADA2DAF-0999-49F9-BA9F-401EA8A867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425600"/>
            <a:ext cx="12192000" cy="29340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108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575999" y="5508000"/>
            <a:ext cx="10368000" cy="576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575999" y="4824000"/>
            <a:ext cx="10367999" cy="576000"/>
          </a:xfrm>
        </p:spPr>
        <p:txBody>
          <a:bodyPr anchor="b">
            <a:noAutofit/>
          </a:bodyPr>
          <a:lstStyle>
            <a:lvl1pPr algn="l">
              <a:defRPr sz="2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" name="Logo Schutz" hidden="1">
            <a:extLst>
              <a:ext uri="{FF2B5EF4-FFF2-40B4-BE49-F238E27FC236}">
                <a16:creationId xmlns:a16="http://schemas.microsoft.com/office/drawing/2014/main" id="{262B1442-F801-4C0C-B1D0-64DB0145E31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0961B3-A2B6-4E7B-B4EF-0880030E7ACD}"/>
              </a:ext>
            </a:extLst>
          </p:cNvPr>
          <p:cNvSpPr txBox="1"/>
          <p:nvPr userDrawn="1"/>
        </p:nvSpPr>
        <p:spPr>
          <a:xfrm>
            <a:off x="575999" y="6350467"/>
            <a:ext cx="744274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buClr>
                <a:schemeClr val="tx2"/>
              </a:buClr>
              <a:buFont typeface="Franklin Gothic Book" panose="020B0503020102020204" pitchFamily="34" charset="0"/>
              <a:buNone/>
            </a:pPr>
            <a:r>
              <a:rPr lang="de-DE" sz="900" b="1"/>
              <a:t>Dr. Kraus &amp; Partner • </a:t>
            </a:r>
            <a:r>
              <a:rPr lang="de-DE" sz="900"/>
              <a:t>Werner-von-Siemens-Str. 2–6 • 76646 Bruchsal • Telefon 07251 989034 • Telefax 07251 989035 • www.kraus-und-partner.de</a:t>
            </a:r>
          </a:p>
          <a:p>
            <a:pPr marL="0" indent="0" algn="l">
              <a:buClr>
                <a:schemeClr val="tx2"/>
              </a:buClr>
              <a:buFont typeface="Franklin Gothic Book" panose="020B0503020102020204" pitchFamily="34" charset="0"/>
              <a:buNone/>
            </a:pPr>
            <a:endParaRPr lang="de-DE" sz="900"/>
          </a:p>
        </p:txBody>
      </p:sp>
      <p:cxnSp>
        <p:nvCxnSpPr>
          <p:cNvPr id="17" name="Linie oben">
            <a:extLst>
              <a:ext uri="{FF2B5EF4-FFF2-40B4-BE49-F238E27FC236}">
                <a16:creationId xmlns:a16="http://schemas.microsoft.com/office/drawing/2014/main" id="{0E76E68D-53F7-4498-81C8-603C768545FA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2482427" y="533400"/>
            <a:ext cx="8461571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 xmlns:p15="http://schemas.microsoft.com/office/powerpoint/2012/main" xmlns:p14="http://schemas.microsoft.com/office/powerpoint/2010/main" xmlns:a16="http://schemas.microsoft.com/office/drawing/2014/main">
                <a:noFill/>
              </a14:hiddenFill>
            </a:ext>
            <a:ext uri="{AF507438-7753-43e0-B8FC-AC1667EBCBE1}">
              <a14:hiddenEffects xmlns="" xmlns:a14="http://schemas.microsoft.com/office/drawing/2010/main" xmlns:p15="http://schemas.microsoft.com/office/powerpoint/2012/main" xmlns:p14="http://schemas.microsoft.com/office/powerpoint/2010/main" xmlns:a16="http://schemas.microsoft.com/office/drawing/2014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Logo">
            <a:extLst>
              <a:ext uri="{FF2B5EF4-FFF2-40B4-BE49-F238E27FC236}">
                <a16:creationId xmlns:a16="http://schemas.microsoft.com/office/drawing/2014/main" id="{19A2F711-50CB-4780-B681-F22576A7FE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3" y="241200"/>
            <a:ext cx="1224000" cy="31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831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39">
          <p15:clr>
            <a:srgbClr val="FBAE40"/>
          </p15:clr>
        </p15:guide>
        <p15:guide id="2" orient="horz" pos="383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">
            <a:extLst>
              <a:ext uri="{FF2B5EF4-FFF2-40B4-BE49-F238E27FC236}">
                <a16:creationId xmlns:a16="http://schemas.microsoft.com/office/drawing/2014/main" id="{D6D9072B-7EB4-430B-82B3-E53754B1E1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73532"/>
            <a:ext cx="12192000" cy="5716119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448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5" y="4824000"/>
            <a:ext cx="12192005" cy="792000"/>
          </a:xfrm>
          <a:solidFill>
            <a:schemeClr val="bg1">
              <a:alpha val="80000"/>
            </a:schemeClr>
          </a:solidFill>
        </p:spPr>
        <p:txBody>
          <a:bodyPr lIns="432000" tIns="72000" rIns="72000" bIns="72000" anchor="ctr">
            <a:noAutofit/>
          </a:bodyPr>
          <a:lstStyle>
            <a:lvl1pPr>
              <a:defRPr sz="2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01A93F76-D11F-4BDE-8798-26D929C37DD9}"/>
              </a:ext>
            </a:extLst>
          </p:cNvPr>
          <p:cNvSpPr/>
          <p:nvPr userDrawn="1"/>
        </p:nvSpPr>
        <p:spPr bwMode="auto">
          <a:xfrm>
            <a:off x="9090523" y="0"/>
            <a:ext cx="1536759" cy="373533"/>
          </a:xfrm>
          <a:prstGeom prst="parallelogram">
            <a:avLst>
              <a:gd name="adj" fmla="val 71855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02AFCCA-D498-4901-8328-F0B13947682F}"/>
              </a:ext>
            </a:extLst>
          </p:cNvPr>
          <p:cNvGrpSpPr/>
          <p:nvPr userDrawn="1"/>
        </p:nvGrpSpPr>
        <p:grpSpPr>
          <a:xfrm>
            <a:off x="8745069" y="6094465"/>
            <a:ext cx="2198929" cy="763535"/>
            <a:chOff x="8745069" y="4360336"/>
            <a:chExt cx="2198929" cy="763535"/>
          </a:xfrm>
        </p:grpSpPr>
        <p:sp>
          <p:nvSpPr>
            <p:cNvPr id="15" name="Parallelogramm 14">
              <a:extLst>
                <a:ext uri="{FF2B5EF4-FFF2-40B4-BE49-F238E27FC236}">
                  <a16:creationId xmlns:a16="http://schemas.microsoft.com/office/drawing/2014/main" id="{0C767BC1-5D72-405A-8E81-D52E9284995C}"/>
                </a:ext>
              </a:extLst>
            </p:cNvPr>
            <p:cNvSpPr/>
            <p:nvPr userDrawn="1"/>
          </p:nvSpPr>
          <p:spPr>
            <a:xfrm rot="10800000" flipV="1">
              <a:off x="9931565" y="4360336"/>
              <a:ext cx="1012433" cy="381766"/>
            </a:xfrm>
            <a:prstGeom prst="parallelogram">
              <a:avLst>
                <a:gd name="adj" fmla="val 70084"/>
              </a:avLst>
            </a:prstGeom>
            <a:solidFill>
              <a:srgbClr val="161C3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Parallelogramm 15">
              <a:extLst>
                <a:ext uri="{FF2B5EF4-FFF2-40B4-BE49-F238E27FC236}">
                  <a16:creationId xmlns:a16="http://schemas.microsoft.com/office/drawing/2014/main" id="{1F243582-5266-47B0-A7AB-D41656FB7588}"/>
                </a:ext>
              </a:extLst>
            </p:cNvPr>
            <p:cNvSpPr/>
            <p:nvPr userDrawn="1"/>
          </p:nvSpPr>
          <p:spPr>
            <a:xfrm rot="10800000" flipV="1">
              <a:off x="8745069" y="4360336"/>
              <a:ext cx="1850867" cy="763535"/>
            </a:xfrm>
            <a:prstGeom prst="parallelogram">
              <a:avLst>
                <a:gd name="adj" fmla="val 70943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774048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72DA67-EAAD-46D4-AB93-B22E112568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99" y="1980000"/>
            <a:ext cx="11040000" cy="3960000"/>
          </a:xfrm>
        </p:spPr>
        <p:txBody>
          <a:bodyPr anchor="ctr"/>
          <a:lstStyle>
            <a:lvl1pPr marL="0" indent="0" algn="ctr">
              <a:buNone/>
              <a:defRPr sz="3600">
                <a:latin typeface="+mn-lt"/>
              </a:defRPr>
            </a:lvl1pPr>
            <a:lvl2pPr marL="180000" indent="0" algn="ctr">
              <a:buNone/>
              <a:defRPr sz="3600">
                <a:latin typeface="+mn-lt"/>
              </a:defRPr>
            </a:lvl2pPr>
            <a:lvl3pPr marL="360000" indent="0" algn="ctr">
              <a:buNone/>
              <a:defRPr sz="3600">
                <a:latin typeface="+mn-lt"/>
              </a:defRPr>
            </a:lvl3pPr>
            <a:lvl4pPr marL="540000" indent="0" algn="ctr">
              <a:buNone/>
              <a:defRPr sz="3600">
                <a:latin typeface="+mn-lt"/>
              </a:defRPr>
            </a:lvl4pPr>
            <a:lvl5pPr marL="720000" indent="0" algn="ctr">
              <a:buNone/>
              <a:defRPr sz="3600"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58828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A369FC4-1CF9-4759-826C-A73368F732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B5F913-E055-47DB-A904-638213E5C7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B7312461-F2A0-41C9-8CC1-2D93C846F2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1D425188-D23F-4995-8A1D-D6B1BF9D1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Logo Schutz" hidden="1">
            <a:extLst>
              <a:ext uri="{FF2B5EF4-FFF2-40B4-BE49-F238E27FC236}">
                <a16:creationId xmlns:a16="http://schemas.microsoft.com/office/drawing/2014/main" id="{4067C406-23C6-4BEB-9847-3BE7DDD0ED4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D9CF6B7B-D033-4D63-8772-9D62E1B8F8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528000" y="1872000"/>
            <a:ext cx="11136000" cy="4392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934435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2">
          <p15:clr>
            <a:srgbClr val="FBAE40"/>
          </p15:clr>
        </p15:guide>
        <p15:guide id="2" orient="horz" pos="907">
          <p15:clr>
            <a:srgbClr val="FBAE40"/>
          </p15:clr>
        </p15:guide>
        <p15:guide id="3" orient="horz" pos="975">
          <p15:clr>
            <a:srgbClr val="FBAE40"/>
          </p15:clr>
        </p15:guide>
        <p15:guide id="4" orient="horz" pos="1112">
          <p15:clr>
            <a:srgbClr val="FBAE40"/>
          </p15:clr>
        </p15:guide>
        <p15:guide id="5" orient="horz" pos="1178">
          <p15:clr>
            <a:srgbClr val="FBAE40"/>
          </p15:clr>
        </p15:guide>
        <p15:guide id="6" orient="horz" pos="392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C434DC8-C7FC-4E9B-B8FE-A7874E3C0D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FA615CB-7959-4EE0-90A8-6DE5BF829D7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575999" y="1871763"/>
            <a:ext cx="11040000" cy="435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41CAF75F-21B6-40F1-A8E3-88ED7BA8CB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4" name="Titel">
            <a:extLst>
              <a:ext uri="{FF2B5EF4-FFF2-40B4-BE49-F238E27FC236}">
                <a16:creationId xmlns:a16="http://schemas.microsoft.com/office/drawing/2014/main" id="{38E49551-C288-470A-A3C5-85CFA4B64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Logo Schutz" hidden="1">
            <a:extLst>
              <a:ext uri="{FF2B5EF4-FFF2-40B4-BE49-F238E27FC236}">
                <a16:creationId xmlns:a16="http://schemas.microsoft.com/office/drawing/2014/main" id="{6F4CC33D-59BF-48DA-89AA-558A8197BC1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76353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43">
          <p15:clr>
            <a:srgbClr val="FBAE40"/>
          </p15:clr>
        </p15:guide>
        <p15:guide id="2" orient="horz" pos="907">
          <p15:clr>
            <a:srgbClr val="FBAE40"/>
          </p15:clr>
        </p15:guide>
        <p15:guide id="3" orient="horz" pos="975">
          <p15:clr>
            <a:srgbClr val="FBAE40"/>
          </p15:clr>
        </p15:guide>
        <p15:guide id="4" orient="horz" pos="1112">
          <p15:clr>
            <a:srgbClr val="FBAE40"/>
          </p15:clr>
        </p15:guide>
        <p15:guide id="5" orient="horz" pos="1178">
          <p15:clr>
            <a:srgbClr val="FBAE40"/>
          </p15:clr>
        </p15:guide>
        <p15:guide id="6" orient="horz" pos="392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06535D9-B9B6-4E93-9DFA-A2ED7DDFBB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98BEC1E-6E5E-4175-850C-ECAF71AA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4" name="Inhaltsplatzhalter rechts"/>
          <p:cNvSpPr>
            <a:spLocks noGrp="1"/>
          </p:cNvSpPr>
          <p:nvPr>
            <p:ph sz="half" idx="2"/>
          </p:nvPr>
        </p:nvSpPr>
        <p:spPr>
          <a:xfrm>
            <a:off x="6168000" y="1872000"/>
            <a:ext cx="54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Inhaltsplatzhalter links"/>
          <p:cNvSpPr>
            <a:spLocks noGrp="1"/>
          </p:cNvSpPr>
          <p:nvPr>
            <p:ph sz="half" idx="1"/>
          </p:nvPr>
        </p:nvSpPr>
        <p:spPr>
          <a:xfrm>
            <a:off x="575999" y="1872000"/>
            <a:ext cx="54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4AD5D3F7-C2A5-4FD4-8100-7C326ACDDD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FD5FFDB2-4E71-44EE-BCB0-2375B0485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Logo Schutz" hidden="1">
            <a:extLst>
              <a:ext uri="{FF2B5EF4-FFF2-40B4-BE49-F238E27FC236}">
                <a16:creationId xmlns:a16="http://schemas.microsoft.com/office/drawing/2014/main" id="{3ECC5106-6118-4166-8679-9066DCCCBF2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4284927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9">
          <p15:clr>
            <a:srgbClr val="FBAE40"/>
          </p15:clr>
        </p15:guide>
        <p15:guide id="3" orient="horz" pos="1111">
          <p15:clr>
            <a:srgbClr val="FBAE40"/>
          </p15:clr>
        </p15:guide>
        <p15:guide id="4" orient="horz" pos="975">
          <p15:clr>
            <a:srgbClr val="FBAE40"/>
          </p15:clr>
        </p15:guide>
        <p15:guide id="5" orient="horz" pos="544">
          <p15:clr>
            <a:srgbClr val="FBAE40"/>
          </p15:clr>
        </p15:guide>
        <p15:guide id="6" orient="horz" pos="90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3867E73-48FE-4018-8A79-6E199EF3C7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C296C4E-07C6-4A8D-9931-3539A56B30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13" name="Inhaltsplatzhalter rechts">
            <a:extLst>
              <a:ext uri="{FF2B5EF4-FFF2-40B4-BE49-F238E27FC236}">
                <a16:creationId xmlns:a16="http://schemas.microsoft.com/office/drawing/2014/main" id="{4AA0C17D-9C96-441A-9662-DB57BAC4B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8000" y="1872000"/>
            <a:ext cx="54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Untertitel rechts">
            <a:extLst>
              <a:ext uri="{FF2B5EF4-FFF2-40B4-BE49-F238E27FC236}">
                <a16:creationId xmlns:a16="http://schemas.microsoft.com/office/drawing/2014/main" id="{5750C692-C587-4880-B2EF-613244DE65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7999" y="1548001"/>
            <a:ext cx="5448000" cy="215999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4" name="Inhaltsplatzhalter links">
            <a:extLst>
              <a:ext uri="{FF2B5EF4-FFF2-40B4-BE49-F238E27FC236}">
                <a16:creationId xmlns:a16="http://schemas.microsoft.com/office/drawing/2014/main" id="{3A34383C-4479-49D3-ADA1-4F67738080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5999" y="1872000"/>
            <a:ext cx="54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Untertitel links">
            <a:extLst>
              <a:ext uri="{FF2B5EF4-FFF2-40B4-BE49-F238E27FC236}">
                <a16:creationId xmlns:a16="http://schemas.microsoft.com/office/drawing/2014/main" id="{8D3325DB-7F0E-420B-A660-285214F5FD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1"/>
            <a:ext cx="5448000" cy="215999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7" name="Titel">
            <a:extLst>
              <a:ext uri="{FF2B5EF4-FFF2-40B4-BE49-F238E27FC236}">
                <a16:creationId xmlns:a16="http://schemas.microsoft.com/office/drawing/2014/main" id="{ED98CCD9-6882-406F-8233-944F4D90E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Logo Schutz" hidden="1">
            <a:extLst>
              <a:ext uri="{FF2B5EF4-FFF2-40B4-BE49-F238E27FC236}">
                <a16:creationId xmlns:a16="http://schemas.microsoft.com/office/drawing/2014/main" id="{67435761-018A-46FE-9C93-91B7A8E9DB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74477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8">
          <p15:clr>
            <a:srgbClr val="FBAE40"/>
          </p15:clr>
        </p15:guide>
        <p15:guide id="3" orient="horz" pos="1112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08">
          <p15:clr>
            <a:srgbClr val="FBAE40"/>
          </p15:clr>
        </p15:guide>
        <p15:guide id="6" orient="horz" pos="5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06535D9-B9B6-4E93-9DFA-A2ED7DDFBB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98BEC1E-6E5E-4175-850C-ECAF71AA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4" name="Inhaltsplatzhalter rechts"/>
          <p:cNvSpPr>
            <a:spLocks noGrp="1"/>
          </p:cNvSpPr>
          <p:nvPr>
            <p:ph sz="half" idx="2"/>
          </p:nvPr>
        </p:nvSpPr>
        <p:spPr>
          <a:xfrm>
            <a:off x="6168000" y="1872000"/>
            <a:ext cx="54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links unten">
            <a:extLst>
              <a:ext uri="{FF2B5EF4-FFF2-40B4-BE49-F238E27FC236}">
                <a16:creationId xmlns:a16="http://schemas.microsoft.com/office/drawing/2014/main" id="{CA40B7E2-093A-49F4-AAD4-893290AE3CF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75999" y="4104000"/>
            <a:ext cx="5447999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Inhaltsplatzhalter links oben"/>
          <p:cNvSpPr>
            <a:spLocks noGrp="1"/>
          </p:cNvSpPr>
          <p:nvPr>
            <p:ph sz="half" idx="1"/>
          </p:nvPr>
        </p:nvSpPr>
        <p:spPr>
          <a:xfrm>
            <a:off x="575999" y="1872001"/>
            <a:ext cx="5447999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4AD5D3F7-C2A5-4FD4-8100-7C326ACDDD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FD5FFDB2-4E71-44EE-BCB0-2375B0485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Logo Schutz" hidden="1">
            <a:extLst>
              <a:ext uri="{FF2B5EF4-FFF2-40B4-BE49-F238E27FC236}">
                <a16:creationId xmlns:a16="http://schemas.microsoft.com/office/drawing/2014/main" id="{4594FE1D-CDD5-49D4-A4DD-EC8BB8DBE11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1722093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9">
          <p15:clr>
            <a:srgbClr val="FBAE40"/>
          </p15:clr>
        </p15:guide>
        <p15:guide id="3" orient="horz" pos="1111">
          <p15:clr>
            <a:srgbClr val="FBAE40"/>
          </p15:clr>
        </p15:guide>
        <p15:guide id="4" orient="horz" pos="975">
          <p15:clr>
            <a:srgbClr val="FBAE40"/>
          </p15:clr>
        </p15:guide>
        <p15:guide id="5" orient="horz" pos="544">
          <p15:clr>
            <a:srgbClr val="FBAE40"/>
          </p15:clr>
        </p15:guide>
        <p15:guide id="6" orient="horz" pos="90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06535D9-B9B6-4E93-9DFA-A2ED7DDFBB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98BEC1E-6E5E-4175-850C-ECAF71AA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13" name="Inhaltsplatzhalter rechts unten">
            <a:extLst>
              <a:ext uri="{FF2B5EF4-FFF2-40B4-BE49-F238E27FC236}">
                <a16:creationId xmlns:a16="http://schemas.microsoft.com/office/drawing/2014/main" id="{64CA684C-EFFD-44BD-9DEA-69DEC9A8ABF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68001" y="4104000"/>
            <a:ext cx="5448000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rechts oben"/>
          <p:cNvSpPr>
            <a:spLocks noGrp="1"/>
          </p:cNvSpPr>
          <p:nvPr>
            <p:ph sz="half" idx="2"/>
          </p:nvPr>
        </p:nvSpPr>
        <p:spPr>
          <a:xfrm>
            <a:off x="6168001" y="1872001"/>
            <a:ext cx="5448000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Inhaltsplatzhalter links unten">
            <a:extLst>
              <a:ext uri="{FF2B5EF4-FFF2-40B4-BE49-F238E27FC236}">
                <a16:creationId xmlns:a16="http://schemas.microsoft.com/office/drawing/2014/main" id="{CA40B7E2-093A-49F4-AAD4-893290AE3CF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75999" y="4104000"/>
            <a:ext cx="5447999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Inhaltsplatzhalter links oben"/>
          <p:cNvSpPr>
            <a:spLocks noGrp="1"/>
          </p:cNvSpPr>
          <p:nvPr>
            <p:ph sz="half" idx="1"/>
          </p:nvPr>
        </p:nvSpPr>
        <p:spPr>
          <a:xfrm>
            <a:off x="575999" y="1872001"/>
            <a:ext cx="5447999" cy="2123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4AD5D3F7-C2A5-4FD4-8100-7C326ACDDD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FD5FFDB2-4E71-44EE-BCB0-2375B0485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5" name="Logo Schutz" hidden="1">
            <a:extLst>
              <a:ext uri="{FF2B5EF4-FFF2-40B4-BE49-F238E27FC236}">
                <a16:creationId xmlns:a16="http://schemas.microsoft.com/office/drawing/2014/main" id="{0E2A4992-4176-4A05-A323-A41706F8B5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998933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9">
          <p15:clr>
            <a:srgbClr val="FBAE40"/>
          </p15:clr>
        </p15:guide>
        <p15:guide id="3" orient="horz" pos="1111">
          <p15:clr>
            <a:srgbClr val="FBAE40"/>
          </p15:clr>
        </p15:guide>
        <p15:guide id="4" orient="horz" pos="975">
          <p15:clr>
            <a:srgbClr val="FBAE40"/>
          </p15:clr>
        </p15:guide>
        <p15:guide id="5" orient="horz" pos="544">
          <p15:clr>
            <a:srgbClr val="FBAE40"/>
          </p15:clr>
        </p15:guide>
        <p15:guide id="6" orient="horz" pos="90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05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mit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06535D9-B9B6-4E93-9DFA-A2ED7DDFBB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98BEC1E-6E5E-4175-850C-ECAF71AA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5" name="Textplatzhalter">
            <a:extLst>
              <a:ext uri="{FF2B5EF4-FFF2-40B4-BE49-F238E27FC236}">
                <a16:creationId xmlns:a16="http://schemas.microsoft.com/office/drawing/2014/main" id="{DA45F626-730E-4B56-B3EC-24A15177E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68001" y="1872000"/>
            <a:ext cx="3048000" cy="43559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sz="half" idx="1"/>
          </p:nvPr>
        </p:nvSpPr>
        <p:spPr>
          <a:xfrm>
            <a:off x="575999" y="1872000"/>
            <a:ext cx="78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4AD5D3F7-C2A5-4FD4-8100-7C326ACDDD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FD5FFDB2-4E71-44EE-BCB0-2375B048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9" y="864000"/>
            <a:ext cx="11040000" cy="57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Logo Schutz" hidden="1">
            <a:extLst>
              <a:ext uri="{FF2B5EF4-FFF2-40B4-BE49-F238E27FC236}">
                <a16:creationId xmlns:a16="http://schemas.microsoft.com/office/drawing/2014/main" id="{09896534-6CE0-4E5E-B628-167D45464A9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68392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9">
          <p15:clr>
            <a:srgbClr val="FBAE40"/>
          </p15:clr>
        </p15:guide>
        <p15:guide id="3" orient="horz" pos="1111">
          <p15:clr>
            <a:srgbClr val="FBAE40"/>
          </p15:clr>
        </p15:guide>
        <p15:guide id="4" orient="horz" pos="975">
          <p15:clr>
            <a:srgbClr val="FBAE40"/>
          </p15:clr>
        </p15:guide>
        <p15:guide id="5" orient="horz" pos="544">
          <p15:clr>
            <a:srgbClr val="FBAE40"/>
          </p15:clr>
        </p15:guide>
        <p15:guide id="6" orient="horz" pos="90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rechts mit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06535D9-B9B6-4E93-9DFA-A2ED7DDFBB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98BEC1E-6E5E-4175-850C-ECAF71AA3D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sz="half" idx="1"/>
          </p:nvPr>
        </p:nvSpPr>
        <p:spPr>
          <a:xfrm>
            <a:off x="3767999" y="1872000"/>
            <a:ext cx="7848000" cy="4355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">
            <a:extLst>
              <a:ext uri="{FF2B5EF4-FFF2-40B4-BE49-F238E27FC236}">
                <a16:creationId xmlns:a16="http://schemas.microsoft.com/office/drawing/2014/main" id="{DA45F626-730E-4B56-B3EC-24A15177ED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999" y="1872000"/>
            <a:ext cx="3048000" cy="43559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Untertitel">
            <a:extLst>
              <a:ext uri="{FF2B5EF4-FFF2-40B4-BE49-F238E27FC236}">
                <a16:creationId xmlns:a16="http://schemas.microsoft.com/office/drawing/2014/main" id="{4AD5D3F7-C2A5-4FD4-8100-7C326ACDDD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5999" y="1548000"/>
            <a:ext cx="11040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180000" indent="0">
              <a:buNone/>
              <a:defRPr>
                <a:solidFill>
                  <a:schemeClr val="tx2"/>
                </a:solidFill>
              </a:defRPr>
            </a:lvl2pPr>
            <a:lvl3pPr marL="360000" indent="0">
              <a:buNone/>
              <a:defRPr>
                <a:solidFill>
                  <a:schemeClr val="tx2"/>
                </a:solidFill>
              </a:defRPr>
            </a:lvl3pPr>
            <a:lvl4pPr marL="540000" indent="0">
              <a:buNone/>
              <a:defRPr>
                <a:solidFill>
                  <a:schemeClr val="tx2"/>
                </a:solidFill>
              </a:defRPr>
            </a:lvl4pPr>
            <a:lvl5pPr marL="7200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Optional Untertitel einfügen</a:t>
            </a:r>
          </a:p>
        </p:txBody>
      </p:sp>
      <p:sp>
        <p:nvSpPr>
          <p:cNvPr id="12" name="Titel">
            <a:extLst>
              <a:ext uri="{FF2B5EF4-FFF2-40B4-BE49-F238E27FC236}">
                <a16:creationId xmlns:a16="http://schemas.microsoft.com/office/drawing/2014/main" id="{FD5FFDB2-4E71-44EE-BCB0-2375B0485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9" y="864000"/>
            <a:ext cx="11040000" cy="57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Logo Schutz" hidden="1">
            <a:extLst>
              <a:ext uri="{FF2B5EF4-FFF2-40B4-BE49-F238E27FC236}">
                <a16:creationId xmlns:a16="http://schemas.microsoft.com/office/drawing/2014/main" id="{B6EFCEDE-71F7-4D77-9407-961DDC01074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183864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1179">
          <p15:clr>
            <a:srgbClr val="FBAE40"/>
          </p15:clr>
        </p15:guide>
        <p15:guide id="3" orient="horz" pos="1111">
          <p15:clr>
            <a:srgbClr val="FBAE40"/>
          </p15:clr>
        </p15:guide>
        <p15:guide id="4" orient="horz" pos="975">
          <p15:clr>
            <a:srgbClr val="FBAE40"/>
          </p15:clr>
        </p15:guide>
        <p15:guide id="5" orient="horz" pos="544">
          <p15:clr>
            <a:srgbClr val="FBAE40"/>
          </p15:clr>
        </p15:guide>
        <p15:guide id="6" orient="horz" pos="90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3B9650E-9392-43B5-A3DF-E65EF83571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tIns="3024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040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54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8C5329-3BC4-429B-BAA1-1658390EC3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4D91D3-13C5-4232-9B15-37A717B23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Logo Schutz" hidden="1">
            <a:extLst>
              <a:ext uri="{FF2B5EF4-FFF2-40B4-BE49-F238E27FC236}">
                <a16:creationId xmlns:a16="http://schemas.microsoft.com/office/drawing/2014/main" id="{B635074C-1243-416A-A214-4DE1B545332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E2BF695D-AECF-4CB8-A9CE-430DA6256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528000" y="863600"/>
            <a:ext cx="11136000" cy="5400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201415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5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8C5329-3BC4-429B-BAA1-1658390EC3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Dr. Kraus &amp; Partner | UnITe Rollout-Konzep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4D91D3-13C5-4232-9B15-37A717B23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1D998205-B25A-4E6A-8D79-C9727A8CF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5999" y="3474000"/>
            <a:ext cx="6240000" cy="1890000"/>
          </a:xfrm>
        </p:spPr>
        <p:txBody>
          <a:bodyPr/>
          <a:lstStyle>
            <a:lvl1pPr marL="0" indent="0">
              <a:buNone/>
              <a:defRPr/>
            </a:lvl1pPr>
            <a:lvl2pPr marL="270000" indent="0">
              <a:buNone/>
              <a:defRPr/>
            </a:lvl2pPr>
            <a:lvl3pPr marL="540000" indent="0">
              <a:buNone/>
              <a:defRPr/>
            </a:lvl3pPr>
            <a:lvl4pPr marL="810000" indent="0">
              <a:buNone/>
              <a:defRPr/>
            </a:lvl4pPr>
            <a:lvl5pPr marL="1080000" indent="0">
              <a:buNone/>
              <a:defRPr/>
            </a:lvl5pPr>
          </a:lstStyle>
          <a:p>
            <a:pPr lvl="0"/>
            <a:r>
              <a:rPr lang="de-DE"/>
              <a:t>Kontaktinformationen eingeb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D842B87B-E26A-42C6-AB5F-C2E8C6D9C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999" y="2200100"/>
            <a:ext cx="6240000" cy="1080000"/>
          </a:xfrm>
        </p:spPr>
        <p:txBody>
          <a:bodyPr anchor="b" anchorCtr="0">
            <a:noAutofit/>
          </a:bodyPr>
          <a:lstStyle>
            <a:lvl1pPr>
              <a:defRPr sz="2000" b="1"/>
            </a:lvl1pPr>
          </a:lstStyle>
          <a:p>
            <a:r>
              <a:rPr lang="de-DE"/>
              <a:t>Abschlussbotschaft eingeben</a:t>
            </a:r>
          </a:p>
        </p:txBody>
      </p:sp>
      <p:sp>
        <p:nvSpPr>
          <p:cNvPr id="8" name="Logo Schutz" hidden="1">
            <a:extLst>
              <a:ext uri="{FF2B5EF4-FFF2-40B4-BE49-F238E27FC236}">
                <a16:creationId xmlns:a16="http://schemas.microsoft.com/office/drawing/2014/main" id="{B9156CBD-0C49-4D5B-AE04-06A5A3F2EF3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2488019" cy="65970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1107039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FBAE40"/>
          </p15:clr>
        </p15:guide>
        <p15:guide id="2" orient="horz" pos="5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apter_titleonly"/>
          <p:cNvSpPr>
            <a:spLocks noGrp="1"/>
          </p:cNvSpPr>
          <p:nvPr>
            <p:ph type="body" idx="15" hasCustomPrompt="1"/>
          </p:nvPr>
        </p:nvSpPr>
        <p:spPr>
          <a:xfrm>
            <a:off x="287950" y="288074"/>
            <a:ext cx="11616806" cy="432111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89000"/>
              </a:lnSpc>
              <a:buNone/>
              <a:defRPr lang="de-DE" sz="3112" kern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de-DE"/>
              <a:t>Kapitel­überschrift hinzufügen</a:t>
            </a:r>
          </a:p>
        </p:txBody>
      </p:sp>
      <p:sp>
        <p:nvSpPr>
          <p:cNvPr id="9" name="slide_title">
            <a:extLst>
              <a:ext uri="{FF2B5EF4-FFF2-40B4-BE49-F238E27FC236}">
                <a16:creationId xmlns:a16="http://schemas.microsoft.com/office/drawing/2014/main" id="{CE9D89DE-4B7A-4152-8E47-903CAF20AB0B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87950" y="720185"/>
            <a:ext cx="11616806" cy="432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Folienüberschrif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320415" cy="455906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04716"/>
            <a:ext cx="12192706" cy="63516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37815"/>
            <a:ext cx="151089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GB" sz="611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0013" y="6192137"/>
            <a:ext cx="1163092" cy="492604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94885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5" orient="horz" pos="652">
          <p15:clr>
            <a:srgbClr val="FBAE40"/>
          </p15:clr>
        </p15:guide>
        <p15:guide id="16" orient="horz" pos="34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_titleonly">
            <a:extLst>
              <a:ext uri="{FF2B5EF4-FFF2-40B4-BE49-F238E27FC236}">
                <a16:creationId xmlns:a16="http://schemas.microsoft.com/office/drawing/2014/main" id="{33FCED84-34F3-40A1-AACC-2C46141FAA1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87950" y="288074"/>
            <a:ext cx="11616806" cy="432111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89000"/>
              </a:lnSpc>
              <a:buNone/>
              <a:defRPr lang="de-DE" sz="3112" kern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0"/>
              </a:spcBef>
              <a:buFont typeface="Wingdings 3" panose="05040102010807070707" pitchFamily="18" charset="2"/>
            </a:pPr>
            <a:r>
              <a:rPr lang="de-DE"/>
              <a:t>Kapitel­überschrift hinzufügen</a:t>
            </a:r>
          </a:p>
        </p:txBody>
      </p:sp>
      <p:sp>
        <p:nvSpPr>
          <p:cNvPr id="15" name="slide_title">
            <a:extLst>
              <a:ext uri="{FF2B5EF4-FFF2-40B4-BE49-F238E27FC236}">
                <a16:creationId xmlns:a16="http://schemas.microsoft.com/office/drawing/2014/main" id="{C0A6F091-52AD-4C0A-8D32-80EE860A9980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>
          <a:xfrm>
            <a:off x="287950" y="720185"/>
            <a:ext cx="11616806" cy="43211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Folienüberschrift hinzufüg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320415" cy="455906"/>
          </a:xfrm>
          <a:prstGeom prst="rect">
            <a:avLst/>
          </a:prstGeom>
        </p:spPr>
        <p:txBody>
          <a:bodyPr/>
          <a:lstStyle>
            <a:lvl1pPr>
              <a:defRPr kern="0" baseline="0">
                <a:solidFill>
                  <a:schemeClr val="accent3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04716"/>
            <a:ext cx="12192706" cy="63516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37815"/>
            <a:ext cx="151089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GB" sz="611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0013" y="6192137"/>
            <a:ext cx="1163092" cy="492604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87950" y="1439703"/>
            <a:ext cx="11616806" cy="463245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5187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163">
          <p15:clr>
            <a:srgbClr val="FBAE40"/>
          </p15:clr>
        </p15:guide>
        <p15:guide id="1" pos="6747">
          <p15:clr>
            <a:srgbClr val="FBAE40"/>
          </p15:clr>
        </p15:guide>
        <p15:guide id="10" orient="horz" pos="163">
          <p15:clr>
            <a:srgbClr val="FBAE40"/>
          </p15:clr>
        </p15:guide>
        <p15:guide id="11" orient="horz" pos="408">
          <p15:clr>
            <a:srgbClr val="FBAE40"/>
          </p15:clr>
        </p15:guide>
        <p15:guide id="15" orient="horz" pos="652">
          <p15:clr>
            <a:srgbClr val="FBAE40"/>
          </p15:clr>
        </p15:guide>
        <p15:guide id="16" orient="horz" pos="816">
          <p15:clr>
            <a:srgbClr val="FBAE40"/>
          </p15:clr>
        </p15:guide>
        <p15:guide id="17" orient="horz" pos="344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26525ED-D528-4F3C-AADC-2EFB217442A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1476" y="333375"/>
            <a:ext cx="11449049" cy="6191250"/>
          </a:xfrm>
          <a:custGeom>
            <a:avLst/>
            <a:gdLst>
              <a:gd name="connsiteX0" fmla="*/ 0 w 11449049"/>
              <a:gd name="connsiteY0" fmla="*/ 0 h 6191250"/>
              <a:gd name="connsiteX1" fmla="*/ 11449049 w 11449049"/>
              <a:gd name="connsiteY1" fmla="*/ 0 h 6191250"/>
              <a:gd name="connsiteX2" fmla="*/ 11449049 w 11449049"/>
              <a:gd name="connsiteY2" fmla="*/ 6191250 h 6191250"/>
              <a:gd name="connsiteX3" fmla="*/ 0 w 11449049"/>
              <a:gd name="connsiteY3" fmla="*/ 6191250 h 6191250"/>
              <a:gd name="connsiteX4" fmla="*/ 0 w 11449049"/>
              <a:gd name="connsiteY4" fmla="*/ 5216268 h 6191250"/>
              <a:gd name="connsiteX5" fmla="*/ 7064040 w 11449049"/>
              <a:gd name="connsiteY5" fmla="*/ 5216268 h 6191250"/>
              <a:gd name="connsiteX6" fmla="*/ 7064040 w 11449049"/>
              <a:gd name="connsiteY6" fmla="*/ 3557879 h 6191250"/>
              <a:gd name="connsiteX7" fmla="*/ 0 w 11449049"/>
              <a:gd name="connsiteY7" fmla="*/ 3557879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49049" h="6191250">
                <a:moveTo>
                  <a:pt x="0" y="0"/>
                </a:moveTo>
                <a:lnTo>
                  <a:pt x="11449049" y="0"/>
                </a:lnTo>
                <a:lnTo>
                  <a:pt x="11449049" y="6191250"/>
                </a:lnTo>
                <a:lnTo>
                  <a:pt x="0" y="6191250"/>
                </a:lnTo>
                <a:lnTo>
                  <a:pt x="0" y="5216268"/>
                </a:lnTo>
                <a:lnTo>
                  <a:pt x="7064040" y="5216268"/>
                </a:lnTo>
                <a:lnTo>
                  <a:pt x="7064040" y="3557879"/>
                </a:lnTo>
                <a:lnTo>
                  <a:pt x="0" y="3557879"/>
                </a:lnTo>
                <a:close/>
              </a:path>
            </a:pathLst>
          </a:custGeom>
          <a:blipFill>
            <a:blip r:embed="rId2"/>
            <a:srcRect/>
            <a:stretch>
              <a:fillRect t="-11624" b="-11624"/>
            </a:stretch>
          </a:blipFill>
        </p:spPr>
        <p:txBody>
          <a:bodyPr wrap="square">
            <a:noAutofit/>
          </a:bodyPr>
          <a:lstStyle>
            <a:lvl1pPr marL="0" indent="0">
              <a:buClr>
                <a:schemeClr val="accent6"/>
              </a:buClr>
              <a:buFont typeface="Wingdings" panose="05000000000000000000" pitchFamily="2" charset="2"/>
              <a:buNone/>
              <a:defRPr sz="1800"/>
            </a:lvl1pPr>
          </a:lstStyle>
          <a:p>
            <a:endParaRPr lang="de-DE"/>
          </a:p>
        </p:txBody>
      </p:sp>
      <p:sp>
        <p:nvSpPr>
          <p:cNvPr id="12" name="Rechteck: eine Ecke abgeschnitten 11">
            <a:extLst>
              <a:ext uri="{FF2B5EF4-FFF2-40B4-BE49-F238E27FC236}">
                <a16:creationId xmlns:a16="http://schemas.microsoft.com/office/drawing/2014/main" id="{415DE3CD-9C43-4F05-B8DB-065FE24F6ED9}"/>
              </a:ext>
            </a:extLst>
          </p:cNvPr>
          <p:cNvSpPr/>
          <p:nvPr userDrawn="1"/>
        </p:nvSpPr>
        <p:spPr>
          <a:xfrm>
            <a:off x="0" y="3891254"/>
            <a:ext cx="7435516" cy="1658389"/>
          </a:xfrm>
          <a:prstGeom prst="snip1Rect">
            <a:avLst>
              <a:gd name="adj" fmla="val 0"/>
            </a:avLst>
          </a:prstGeom>
          <a:solidFill>
            <a:srgbClr val="EE1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B93253-0C15-40C2-91ED-CB00849D14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5" y="4033653"/>
            <a:ext cx="6739188" cy="137358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54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9557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28163586-B963-4B25-9368-A428CF1C8C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75" y="333375"/>
            <a:ext cx="11449050" cy="6191250"/>
          </a:xfrm>
          <a:custGeom>
            <a:avLst/>
            <a:gdLst>
              <a:gd name="connsiteX0" fmla="*/ 0 w 11449050"/>
              <a:gd name="connsiteY0" fmla="*/ 0 h 6191250"/>
              <a:gd name="connsiteX1" fmla="*/ 11449050 w 11449050"/>
              <a:gd name="connsiteY1" fmla="*/ 0 h 6191250"/>
              <a:gd name="connsiteX2" fmla="*/ 11449050 w 11449050"/>
              <a:gd name="connsiteY2" fmla="*/ 6191250 h 6191250"/>
              <a:gd name="connsiteX3" fmla="*/ 0 w 11449050"/>
              <a:gd name="connsiteY3" fmla="*/ 6191250 h 6191250"/>
              <a:gd name="connsiteX4" fmla="*/ 0 w 11449050"/>
              <a:gd name="connsiteY4" fmla="*/ 2792044 h 6191250"/>
              <a:gd name="connsiteX5" fmla="*/ 7064041 w 11449050"/>
              <a:gd name="connsiteY5" fmla="*/ 2792044 h 6191250"/>
              <a:gd name="connsiteX6" fmla="*/ 7064041 w 11449050"/>
              <a:gd name="connsiteY6" fmla="*/ 1133655 h 6191250"/>
              <a:gd name="connsiteX7" fmla="*/ 0 w 11449050"/>
              <a:gd name="connsiteY7" fmla="*/ 1133655 h 619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49050" h="6191250">
                <a:moveTo>
                  <a:pt x="0" y="0"/>
                </a:moveTo>
                <a:lnTo>
                  <a:pt x="11449050" y="0"/>
                </a:lnTo>
                <a:lnTo>
                  <a:pt x="11449050" y="6191250"/>
                </a:lnTo>
                <a:lnTo>
                  <a:pt x="0" y="6191250"/>
                </a:lnTo>
                <a:lnTo>
                  <a:pt x="0" y="2792044"/>
                </a:lnTo>
                <a:lnTo>
                  <a:pt x="7064041" y="2792044"/>
                </a:lnTo>
                <a:lnTo>
                  <a:pt x="7064041" y="1133655"/>
                </a:lnTo>
                <a:lnTo>
                  <a:pt x="0" y="1133655"/>
                </a:lnTo>
                <a:close/>
              </a:path>
            </a:pathLst>
          </a:custGeom>
          <a:blipFill>
            <a:blip r:embed="rId2"/>
            <a:srcRect/>
            <a:stretch>
              <a:fillRect t="-11626" b="-11624"/>
            </a:stretch>
          </a:blipFill>
        </p:spPr>
        <p:txBody>
          <a:bodyPr wrap="square">
            <a:noAutofit/>
          </a:bodyPr>
          <a:lstStyle>
            <a:lvl1pPr marL="0" indent="0">
              <a:buClr>
                <a:schemeClr val="accent6"/>
              </a:buClr>
              <a:buFont typeface="Wingdings" panose="05000000000000000000" pitchFamily="2" charset="2"/>
              <a:buNone/>
              <a:defRPr sz="1800"/>
            </a:lvl1pPr>
          </a:lstStyle>
          <a:p>
            <a:endParaRPr lang="de-DE"/>
          </a:p>
        </p:txBody>
      </p:sp>
      <p:sp>
        <p:nvSpPr>
          <p:cNvPr id="10" name="Rechteck: eine Ecke abgeschnitten 9">
            <a:extLst>
              <a:ext uri="{FF2B5EF4-FFF2-40B4-BE49-F238E27FC236}">
                <a16:creationId xmlns:a16="http://schemas.microsoft.com/office/drawing/2014/main" id="{DCE51515-D6E3-41BA-A360-5F1296A06DD6}"/>
              </a:ext>
            </a:extLst>
          </p:cNvPr>
          <p:cNvSpPr/>
          <p:nvPr userDrawn="1"/>
        </p:nvSpPr>
        <p:spPr>
          <a:xfrm>
            <a:off x="0" y="1467031"/>
            <a:ext cx="7435516" cy="1658389"/>
          </a:xfrm>
          <a:prstGeom prst="snip1Rect">
            <a:avLst>
              <a:gd name="adj" fmla="val 0"/>
            </a:avLst>
          </a:prstGeom>
          <a:solidFill>
            <a:srgbClr val="EE1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162860A-E0E0-41CB-ABB5-7D4E02C6CB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612201"/>
            <a:ext cx="6739188" cy="137358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54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Wir wünschen ihnen eine gute Heimreise!</a:t>
            </a:r>
          </a:p>
        </p:txBody>
      </p:sp>
    </p:spTree>
    <p:extLst>
      <p:ext uri="{BB962C8B-B14F-4D97-AF65-F5344CB8AC3E}">
        <p14:creationId xmlns:p14="http://schemas.microsoft.com/office/powerpoint/2010/main" val="735304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ohne Konglome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007" y="324797"/>
            <a:ext cx="1720536" cy="258532"/>
          </a:xfrm>
          <a:prstGeom prst="rect">
            <a:avLst/>
          </a:prstGeom>
          <a:solidFill>
            <a:schemeClr val="accent4"/>
          </a:solidFill>
        </p:spPr>
        <p:txBody>
          <a:bodyPr wrap="none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5AB7921F-945B-494D-9C1D-51CAB822F0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5955040-6E92-4B45-9DCE-785373F221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AF9C79C-AA98-4883-857F-4E71E3FEEC34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7012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chart hellgrau_blanc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FC99CB1-CB8E-474F-B65A-BCEEE1EE88BC}"/>
              </a:ext>
            </a:extLst>
          </p:cNvPr>
          <p:cNvGrpSpPr/>
          <p:nvPr userDrawn="1"/>
        </p:nvGrpSpPr>
        <p:grpSpPr>
          <a:xfrm>
            <a:off x="0" y="6025896"/>
            <a:ext cx="12192000" cy="832104"/>
            <a:chOff x="0" y="6025896"/>
            <a:chExt cx="12192000" cy="832104"/>
          </a:xfrm>
          <a:solidFill>
            <a:srgbClr val="34373C"/>
          </a:solidFill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46CE1315-5BF6-422D-95FD-0CFF0AB0BF83}"/>
                </a:ext>
              </a:extLst>
            </p:cNvPr>
            <p:cNvSpPr/>
            <p:nvPr/>
          </p:nvSpPr>
          <p:spPr>
            <a:xfrm>
              <a:off x="0" y="6025896"/>
              <a:ext cx="12192000" cy="83210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6" name="Grafik 5" descr="Ein Bild, das Zeichnung, Schild, sitzend, Teller enthält.&#10;&#10;Automatisch generierte Beschreibung">
              <a:extLst>
                <a:ext uri="{FF2B5EF4-FFF2-40B4-BE49-F238E27FC236}">
                  <a16:creationId xmlns:a16="http://schemas.microsoft.com/office/drawing/2014/main" id="{3E031831-6964-4A23-B6E7-3CDF527CD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716" y="6150773"/>
              <a:ext cx="2651760" cy="527485"/>
            </a:xfrm>
            <a:prstGeom prst="rect">
              <a:avLst/>
            </a:prstGeom>
            <a:grpFill/>
            <a:ln>
              <a:noFill/>
            </a:ln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D8BF20D-3B23-4B75-8C0D-8ECA75DD0427}"/>
              </a:ext>
            </a:extLst>
          </p:cNvPr>
          <p:cNvGrpSpPr/>
          <p:nvPr userDrawn="1"/>
        </p:nvGrpSpPr>
        <p:grpSpPr>
          <a:xfrm>
            <a:off x="0" y="6025896"/>
            <a:ext cx="12192000" cy="832104"/>
            <a:chOff x="0" y="6025896"/>
            <a:chExt cx="12192000" cy="832104"/>
          </a:xfrm>
          <a:solidFill>
            <a:srgbClr val="34373C"/>
          </a:solidFill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CF84F21-970E-4AAE-94AE-9AC017EF641C}"/>
                </a:ext>
              </a:extLst>
            </p:cNvPr>
            <p:cNvSpPr/>
            <p:nvPr/>
          </p:nvSpPr>
          <p:spPr>
            <a:xfrm>
              <a:off x="0" y="6025896"/>
              <a:ext cx="12192000" cy="83210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 descr="Ein Bild, das Zeichnung, Schild, sitzend, Teller enthält.&#10;&#10;Automatisch generierte Beschreibung">
              <a:extLst>
                <a:ext uri="{FF2B5EF4-FFF2-40B4-BE49-F238E27FC236}">
                  <a16:creationId xmlns:a16="http://schemas.microsoft.com/office/drawing/2014/main" id="{29CC7F7E-39AA-4388-8ACF-A9A450E1DF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716" y="6150773"/>
              <a:ext cx="2651760" cy="527485"/>
            </a:xfrm>
            <a:prstGeom prst="rect">
              <a:avLst/>
            </a:prstGeom>
            <a:grpFill/>
            <a:ln>
              <a:noFill/>
            </a:ln>
          </p:spPr>
        </p:pic>
      </p:grp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D29CA6F-06F6-4666-B48F-285822F4BE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238" y="319630"/>
            <a:ext cx="5468302" cy="432000"/>
          </a:xfrm>
          <a:solidFill>
            <a:srgbClr val="2C2F34"/>
          </a:solidFill>
        </p:spPr>
        <p:txBody>
          <a:bodyPr lIns="324000" tIns="72000" rIns="288000" bIns="0" anchor="ctr">
            <a:noAutofit/>
          </a:bodyPr>
          <a:lstStyle>
            <a:lvl1pPr marL="0" indent="0">
              <a:buFontTx/>
              <a:buNone/>
              <a:defRPr sz="25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2500">
                <a:latin typeface="+mj-lt"/>
              </a:defRPr>
            </a:lvl2pPr>
            <a:lvl3pPr marL="914400" indent="0">
              <a:buFontTx/>
              <a:buNone/>
              <a:defRPr sz="2500">
                <a:latin typeface="+mj-lt"/>
              </a:defRPr>
            </a:lvl3pPr>
            <a:lvl4pPr marL="1371600" indent="0">
              <a:buFontTx/>
              <a:buNone/>
              <a:defRPr sz="2500">
                <a:latin typeface="+mj-lt"/>
              </a:defRPr>
            </a:lvl4pPr>
            <a:lvl5pPr marL="1828800" indent="0">
              <a:buFontTx/>
              <a:buNone/>
              <a:defRPr sz="2500">
                <a:latin typeface="+mj-lt"/>
              </a:defRPr>
            </a:lvl5pPr>
          </a:lstStyle>
          <a:p>
            <a:pPr lvl="0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68724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3908">
          <p15:clr>
            <a:srgbClr val="FBAE40"/>
          </p15:clr>
        </p15:guide>
        <p15:guide id="3" orient="horz" pos="210">
          <p15:clr>
            <a:srgbClr val="FBAE40"/>
          </p15:clr>
        </p15:guide>
        <p15:guide id="4" pos="742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E4E57-1AEC-4D43-B168-4FF0D5B0D5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007" y="324797"/>
            <a:ext cx="1719082" cy="258532"/>
          </a:xfrm>
          <a:prstGeom prst="rect">
            <a:avLst/>
          </a:prstGeom>
          <a:solidFill>
            <a:schemeClr val="accent4"/>
          </a:solidFill>
        </p:spPr>
        <p:txBody>
          <a:bodyPr wrap="none" rIns="90000" anchor="ctr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orem </a:t>
            </a:r>
            <a:r>
              <a:rPr lang="de-DE" err="1"/>
              <a:t>ipsum</a:t>
            </a:r>
            <a:r>
              <a:rPr lang="de-DE"/>
              <a:t> lorem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77A82A3-1B5B-4606-B368-1477913247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709E30DB-DD3D-4F9F-84BD-B27973575E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007" y="1177092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>
              <a:buNone/>
              <a:defRPr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XXX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E4EAEED-9FB8-4490-84FF-1463C13321B5}"/>
              </a:ext>
            </a:extLst>
          </p:cNvPr>
          <p:cNvSpPr txBox="1"/>
          <p:nvPr userDrawn="1"/>
        </p:nvSpPr>
        <p:spPr>
          <a:xfrm>
            <a:off x="308267" y="6455569"/>
            <a:ext cx="792140" cy="2585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l"/>
            <a:r>
              <a:rPr lang="de-DE" sz="900">
                <a:solidFill>
                  <a:schemeClr val="accent4"/>
                </a:solidFill>
              </a:rPr>
              <a:t>SEITE</a:t>
            </a:r>
            <a:r>
              <a:rPr lang="de-DE" sz="900" b="1">
                <a:solidFill>
                  <a:schemeClr val="accent4"/>
                </a:solidFill>
              </a:rPr>
              <a:t> </a:t>
            </a:r>
            <a:fld id="{A26EBF09-51E1-445A-912A-A3C786B51E98}" type="slidenum">
              <a:rPr lang="de-DE" sz="900" b="1" smtClean="0">
                <a:solidFill>
                  <a:schemeClr val="accent4"/>
                </a:solidFill>
                <a:latin typeface="+mj-lt"/>
              </a:rPr>
              <a:pPr algn="l"/>
              <a:t>‹Nr.›</a:t>
            </a:fld>
            <a:endParaRPr lang="de-DE" sz="9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3C2AD0E-48E1-4F78-8B9A-F2F10601D8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38753" y="216123"/>
            <a:ext cx="4970776" cy="642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780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2318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3" r:id="rId2"/>
    <p:sldLayoutId id="2147483692" r:id="rId3"/>
    <p:sldLayoutId id="2147483693" r:id="rId4"/>
    <p:sldLayoutId id="2147483702" r:id="rId5"/>
    <p:sldLayoutId id="2147483722" r:id="rId6"/>
    <p:sldLayoutId id="2147483757" r:id="rId7"/>
    <p:sldLayoutId id="214748375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7">
          <p15:clr>
            <a:srgbClr val="F26B43"/>
          </p15:clr>
        </p15:guide>
        <p15:guide id="2" orient="horz" pos="3634">
          <p15:clr>
            <a:srgbClr val="F26B43"/>
          </p15:clr>
        </p15:guide>
        <p15:guide id="3" pos="234">
          <p15:clr>
            <a:srgbClr val="F26B43"/>
          </p15:clr>
        </p15:guide>
        <p15:guide id="4" pos="74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F14EDBD6-5FD1-40F6-B07A-0FA77C8361A1}"/>
              </a:ext>
            </a:extLst>
          </p:cNvPr>
          <p:cNvSpPr/>
          <p:nvPr userDrawn="1"/>
        </p:nvSpPr>
        <p:spPr>
          <a:xfrm>
            <a:off x="0" y="0"/>
            <a:ext cx="12192000" cy="90000"/>
          </a:xfrm>
          <a:prstGeom prst="rect">
            <a:avLst/>
          </a:prstGeom>
          <a:solidFill>
            <a:srgbClr val="DBD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2AE6BD5-C8D3-42FF-B992-1E630774E59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solidFill>
            <a:srgbClr val="DBD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635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12" r:id="rId2"/>
    <p:sldLayoutId id="2147483689" r:id="rId3"/>
    <p:sldLayoutId id="2147483691" r:id="rId4"/>
    <p:sldLayoutId id="2147483698" r:id="rId5"/>
    <p:sldLayoutId id="2147483704" r:id="rId6"/>
    <p:sldLayoutId id="2147483705" r:id="rId7"/>
    <p:sldLayoutId id="2147483713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4" r:id="rId15"/>
    <p:sldLayoutId id="2147483721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7">
          <p15:clr>
            <a:srgbClr val="F26B43"/>
          </p15:clr>
        </p15:guide>
        <p15:guide id="2" orient="horz" pos="3634">
          <p15:clr>
            <a:srgbClr val="F26B43"/>
          </p15:clr>
        </p15:guide>
        <p15:guide id="3" pos="234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417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Abstrakte verschwommene öffentliche Bibliothek mit Bücherregalen">
            <a:extLst>
              <a:ext uri="{FF2B5EF4-FFF2-40B4-BE49-F238E27FC236}">
                <a16:creationId xmlns:a16="http://schemas.microsoft.com/office/drawing/2014/main" id="{66C8BCF7-F399-4B23-90D6-5BEEB514C0B4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876738" cy="6592529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091F797A-EA6F-4A19-9962-6A0E85DF066C}"/>
              </a:ext>
            </a:extLst>
          </p:cNvPr>
          <p:cNvSpPr/>
          <p:nvPr userDrawn="1"/>
        </p:nvSpPr>
        <p:spPr>
          <a:xfrm>
            <a:off x="0" y="0"/>
            <a:ext cx="9876738" cy="655637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2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200"/>
          </a:p>
        </p:txBody>
      </p:sp>
      <p:sp>
        <p:nvSpPr>
          <p:cNvPr id="12" name="Footer">
            <a:extLst>
              <a:ext uri="{FF2B5EF4-FFF2-40B4-BE49-F238E27FC236}">
                <a16:creationId xmlns:a16="http://schemas.microsoft.com/office/drawing/2014/main" id="{A04BCEA0-5E91-48C0-9F81-0CD6C46CC57B}"/>
              </a:ext>
            </a:extLst>
          </p:cNvPr>
          <p:cNvSpPr/>
          <p:nvPr userDrawn="1"/>
        </p:nvSpPr>
        <p:spPr>
          <a:xfrm>
            <a:off x="0" y="6588000"/>
            <a:ext cx="12192000" cy="270000"/>
          </a:xfrm>
          <a:custGeom>
            <a:avLst/>
            <a:gdLst>
              <a:gd name="connsiteX0" fmla="*/ 0 w 9144000"/>
              <a:gd name="connsiteY0" fmla="*/ 0 h 270000"/>
              <a:gd name="connsiteX1" fmla="*/ 4500668 w 9144000"/>
              <a:gd name="connsiteY1" fmla="*/ 0 h 270000"/>
              <a:gd name="connsiteX2" fmla="*/ 4572001 w 9144000"/>
              <a:gd name="connsiteY2" fmla="*/ 114830 h 270000"/>
              <a:gd name="connsiteX3" fmla="*/ 4643335 w 9144000"/>
              <a:gd name="connsiteY3" fmla="*/ 0 h 270000"/>
              <a:gd name="connsiteX4" fmla="*/ 9144000 w 9144000"/>
              <a:gd name="connsiteY4" fmla="*/ 0 h 270000"/>
              <a:gd name="connsiteX5" fmla="*/ 9144000 w 9144000"/>
              <a:gd name="connsiteY5" fmla="*/ 184018 h 270000"/>
              <a:gd name="connsiteX6" fmla="*/ 9144000 w 9144000"/>
              <a:gd name="connsiteY6" fmla="*/ 265982 h 270000"/>
              <a:gd name="connsiteX7" fmla="*/ 9144000 w 9144000"/>
              <a:gd name="connsiteY7" fmla="*/ 270000 h 270000"/>
              <a:gd name="connsiteX8" fmla="*/ 0 w 9144000"/>
              <a:gd name="connsiteY8" fmla="*/ 270000 h 270000"/>
              <a:gd name="connsiteX9" fmla="*/ 0 w 9144000"/>
              <a:gd name="connsiteY9" fmla="*/ 265982 h 270000"/>
              <a:gd name="connsiteX10" fmla="*/ 0 w 9144000"/>
              <a:gd name="connsiteY10" fmla="*/ 184018 h 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270000">
                <a:moveTo>
                  <a:pt x="0" y="0"/>
                </a:moveTo>
                <a:lnTo>
                  <a:pt x="4500668" y="0"/>
                </a:lnTo>
                <a:lnTo>
                  <a:pt x="4572001" y="114830"/>
                </a:lnTo>
                <a:lnTo>
                  <a:pt x="4643335" y="0"/>
                </a:lnTo>
                <a:lnTo>
                  <a:pt x="9144000" y="0"/>
                </a:lnTo>
                <a:lnTo>
                  <a:pt x="9144000" y="184018"/>
                </a:lnTo>
                <a:lnTo>
                  <a:pt x="9144000" y="265982"/>
                </a:lnTo>
                <a:lnTo>
                  <a:pt x="9144000" y="270000"/>
                </a:lnTo>
                <a:lnTo>
                  <a:pt x="0" y="270000"/>
                </a:lnTo>
                <a:lnTo>
                  <a:pt x="0" y="265982"/>
                </a:lnTo>
                <a:lnTo>
                  <a:pt x="0" y="18401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8DCB05D-31AD-47B4-B545-4604DA40F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95999" y="6633000"/>
            <a:ext cx="720000" cy="18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9B660FC5-4F2F-4013-BA58-C9BD47DC9D1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575783E8-58E2-410B-ADE7-897682F8CD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5998" y="6633000"/>
            <a:ext cx="5520001" cy="18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© Dr. Kraus &amp; Partner | </a:t>
            </a:r>
            <a:r>
              <a:rPr lang="de-DE" err="1"/>
              <a:t>UnITe</a:t>
            </a:r>
            <a:r>
              <a:rPr lang="de-DE"/>
              <a:t> Rollout-Konzept</a:t>
            </a:r>
          </a:p>
        </p:txBody>
      </p:sp>
      <p:sp>
        <p:nvSpPr>
          <p:cNvPr id="3" name="Textplatzhalter"/>
          <p:cNvSpPr>
            <a:spLocks noGrp="1"/>
          </p:cNvSpPr>
          <p:nvPr>
            <p:ph type="body" idx="1"/>
          </p:nvPr>
        </p:nvSpPr>
        <p:spPr>
          <a:xfrm>
            <a:off x="575999" y="1872000"/>
            <a:ext cx="11040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575999" y="864000"/>
            <a:ext cx="11040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cxnSp>
        <p:nvCxnSpPr>
          <p:cNvPr id="7" name="Linie oben">
            <a:extLst>
              <a:ext uri="{FF2B5EF4-FFF2-40B4-BE49-F238E27FC236}">
                <a16:creationId xmlns:a16="http://schemas.microsoft.com/office/drawing/2014/main" id="{D7122789-E972-4DB4-9D68-4360B813B1E2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2482427" y="533400"/>
            <a:ext cx="749130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 xmlns:p15="http://schemas.microsoft.com/office/powerpoint/2012/main" xmlns:p14="http://schemas.microsoft.com/office/powerpoint/2010/main" xmlns:a16="http://schemas.microsoft.com/office/drawing/2014/main">
                <a:noFill/>
              </a14:hiddenFill>
            </a:ext>
            <a:ext uri="{AF507438-7753-43e0-B8FC-AC1667EBCBE1}">
              <a14:hiddenEffects xmlns="" xmlns:a14="http://schemas.microsoft.com/office/drawing/2010/main" xmlns:p15="http://schemas.microsoft.com/office/powerpoint/2012/main" xmlns:p14="http://schemas.microsoft.com/office/powerpoint/2010/main" xmlns:a16="http://schemas.microsoft.com/office/drawing/2014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375BF1B9-8468-42FE-8ED3-F7BB42A980A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/>
            <a:endParaRPr lang="de-DE" sz="1200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93A095B7-3783-4A49-9B7F-DE51863BADBA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3" y="241200"/>
            <a:ext cx="1224000" cy="313206"/>
          </a:xfrm>
          <a:prstGeom prst="rect">
            <a:avLst/>
          </a:prstGeom>
        </p:spPr>
      </p:pic>
      <p:grpSp>
        <p:nvGrpSpPr>
          <p:cNvPr id="16" name="Gestaltungselement">
            <a:extLst>
              <a:ext uri="{FF2B5EF4-FFF2-40B4-BE49-F238E27FC236}">
                <a16:creationId xmlns:a16="http://schemas.microsoft.com/office/drawing/2014/main" id="{1BE98DDA-C19E-406F-A49D-E423CC2E5F35}"/>
              </a:ext>
            </a:extLst>
          </p:cNvPr>
          <p:cNvGrpSpPr/>
          <p:nvPr userDrawn="1"/>
        </p:nvGrpSpPr>
        <p:grpSpPr>
          <a:xfrm>
            <a:off x="10318087" y="0"/>
            <a:ext cx="1451365" cy="534485"/>
            <a:chOff x="7422487" y="-3705"/>
            <a:chExt cx="1451365" cy="534485"/>
          </a:xfrm>
        </p:grpSpPr>
        <p:sp>
          <p:nvSpPr>
            <p:cNvPr id="17" name="Freihandform 15">
              <a:extLst>
                <a:ext uri="{FF2B5EF4-FFF2-40B4-BE49-F238E27FC236}">
                  <a16:creationId xmlns:a16="http://schemas.microsoft.com/office/drawing/2014/main" id="{2F9BF5E4-727E-49B5-A064-F72BD2309C80}"/>
                </a:ext>
              </a:extLst>
            </p:cNvPr>
            <p:cNvSpPr/>
            <p:nvPr userDrawn="1"/>
          </p:nvSpPr>
          <p:spPr>
            <a:xfrm rot="10800000" flipV="1">
              <a:off x="8126597" y="-3705"/>
              <a:ext cx="747255" cy="264353"/>
            </a:xfrm>
            <a:custGeom>
              <a:avLst/>
              <a:gdLst>
                <a:gd name="connsiteX0" fmla="*/ 747255 w 747255"/>
                <a:gd name="connsiteY0" fmla="*/ 0 h 264353"/>
                <a:gd name="connsiteX1" fmla="*/ 185269 w 747255"/>
                <a:gd name="connsiteY1" fmla="*/ 0 h 264353"/>
                <a:gd name="connsiteX2" fmla="*/ 0 w 747255"/>
                <a:gd name="connsiteY2" fmla="*/ 264353 h 264353"/>
                <a:gd name="connsiteX3" fmla="*/ 561986 w 747255"/>
                <a:gd name="connsiteY3" fmla="*/ 264353 h 264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7255" h="264353">
                  <a:moveTo>
                    <a:pt x="747255" y="0"/>
                  </a:moveTo>
                  <a:lnTo>
                    <a:pt x="185269" y="0"/>
                  </a:lnTo>
                  <a:lnTo>
                    <a:pt x="0" y="264353"/>
                  </a:lnTo>
                  <a:lnTo>
                    <a:pt x="561986" y="264353"/>
                  </a:lnTo>
                  <a:close/>
                </a:path>
              </a:pathLst>
            </a:custGeom>
            <a:solidFill>
              <a:srgbClr val="161C3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8" name="Freihandform 16">
              <a:extLst>
                <a:ext uri="{FF2B5EF4-FFF2-40B4-BE49-F238E27FC236}">
                  <a16:creationId xmlns:a16="http://schemas.microsoft.com/office/drawing/2014/main" id="{5256C5CB-57BB-4938-A6DC-24EDB400E4A2}"/>
                </a:ext>
              </a:extLst>
            </p:cNvPr>
            <p:cNvSpPr/>
            <p:nvPr userDrawn="1"/>
          </p:nvSpPr>
          <p:spPr>
            <a:xfrm rot="10800000" flipV="1">
              <a:off x="7422487" y="-3705"/>
              <a:ext cx="1225349" cy="534485"/>
            </a:xfrm>
            <a:custGeom>
              <a:avLst/>
              <a:gdLst>
                <a:gd name="connsiteX0" fmla="*/ 1225349 w 1225349"/>
                <a:gd name="connsiteY0" fmla="*/ 0 h 534485"/>
                <a:gd name="connsiteX1" fmla="*/ 379180 w 1225349"/>
                <a:gd name="connsiteY1" fmla="*/ 0 h 534485"/>
                <a:gd name="connsiteX2" fmla="*/ 0 w 1225349"/>
                <a:gd name="connsiteY2" fmla="*/ 534485 h 534485"/>
                <a:gd name="connsiteX3" fmla="*/ 846169 w 1225349"/>
                <a:gd name="connsiteY3" fmla="*/ 534485 h 53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5349" h="534485">
                  <a:moveTo>
                    <a:pt x="1225349" y="0"/>
                  </a:moveTo>
                  <a:lnTo>
                    <a:pt x="379180" y="0"/>
                  </a:lnTo>
                  <a:lnTo>
                    <a:pt x="0" y="534485"/>
                  </a:lnTo>
                  <a:lnTo>
                    <a:pt x="846169" y="53448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35423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Franklin Gothic Book" panose="020B0503020102020204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731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image" Target="../media/image32.svg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13.png"/><Relationship Id="rId18" Type="http://schemas.openxmlformats.org/officeDocument/2006/relationships/image" Target="../media/image68.png"/><Relationship Id="rId26" Type="http://schemas.openxmlformats.org/officeDocument/2006/relationships/image" Target="../media/image73.png"/><Relationship Id="rId3" Type="http://schemas.openxmlformats.org/officeDocument/2006/relationships/image" Target="../media/image55.png"/><Relationship Id="rId21" Type="http://schemas.openxmlformats.org/officeDocument/2006/relationships/image" Target="../media/image71.png"/><Relationship Id="rId7" Type="http://schemas.openxmlformats.org/officeDocument/2006/relationships/image" Target="../media/image59.png"/><Relationship Id="rId12" Type="http://schemas.openxmlformats.org/officeDocument/2006/relationships/image" Target="../media/image12.png"/><Relationship Id="rId17" Type="http://schemas.openxmlformats.org/officeDocument/2006/relationships/image" Target="../media/image67.png"/><Relationship Id="rId25" Type="http://schemas.openxmlformats.org/officeDocument/2006/relationships/image" Target="../media/image72.png"/><Relationship Id="rId2" Type="http://schemas.openxmlformats.org/officeDocument/2006/relationships/image" Target="../media/image4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24" Type="http://schemas.openxmlformats.org/officeDocument/2006/relationships/image" Target="../media/image16.png"/><Relationship Id="rId32" Type="http://schemas.openxmlformats.org/officeDocument/2006/relationships/image" Target="../media/image79.png"/><Relationship Id="rId5" Type="http://schemas.openxmlformats.org/officeDocument/2006/relationships/image" Target="../media/image57.png"/><Relationship Id="rId15" Type="http://schemas.openxmlformats.org/officeDocument/2006/relationships/image" Target="../media/image65.png"/><Relationship Id="rId23" Type="http://schemas.openxmlformats.org/officeDocument/2006/relationships/image" Target="../media/image15.png"/><Relationship Id="rId28" Type="http://schemas.openxmlformats.org/officeDocument/2006/relationships/image" Target="../media/image75.png"/><Relationship Id="rId10" Type="http://schemas.openxmlformats.org/officeDocument/2006/relationships/image" Target="../media/image62.png"/><Relationship Id="rId19" Type="http://schemas.openxmlformats.org/officeDocument/2006/relationships/image" Target="../media/image69.png"/><Relationship Id="rId31" Type="http://schemas.openxmlformats.org/officeDocument/2006/relationships/image" Target="../media/image78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4.png"/><Relationship Id="rId22" Type="http://schemas.openxmlformats.org/officeDocument/2006/relationships/image" Target="../media/image14.png"/><Relationship Id="rId27" Type="http://schemas.openxmlformats.org/officeDocument/2006/relationships/image" Target="../media/image74.png"/><Relationship Id="rId30" Type="http://schemas.openxmlformats.org/officeDocument/2006/relationships/image" Target="../media/image7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.../SERVICES%7bRemoteProxy@2303bc8b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DC166A9A-BA03-4602-885D-7D0D013934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B2D67E-8BD1-4E20-BA85-2902529E3D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5533" y="522757"/>
            <a:ext cx="2126195" cy="914400"/>
          </a:xfrm>
        </p:spPr>
        <p:txBody>
          <a:bodyPr/>
          <a:lstStyle/>
          <a:p>
            <a:r>
              <a:rPr lang="de-DE"/>
              <a:t>PLAT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AB72BFB-79E8-49AB-8641-0189EF2A9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5531" y="1325722"/>
            <a:ext cx="12141090" cy="914400"/>
          </a:xfrm>
        </p:spPr>
        <p:txBody>
          <a:bodyPr/>
          <a:lstStyle/>
          <a:p>
            <a:r>
              <a:rPr lang="de-DE"/>
              <a:t>Team-POS Log Analyse Too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51F638-FA3D-4BDF-88AE-C76070072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September 202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BA214CE-4355-4ED9-A0A7-A67CE9E41A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e-DE"/>
              <a:t>Kassen Logfiles</a:t>
            </a:r>
          </a:p>
        </p:txBody>
      </p:sp>
    </p:spTree>
    <p:extLst>
      <p:ext uri="{BB962C8B-B14F-4D97-AF65-F5344CB8AC3E}">
        <p14:creationId xmlns:p14="http://schemas.microsoft.com/office/powerpoint/2010/main" val="954766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-3030977" y="1899192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>
                <a:solidFill>
                  <a:srgbClr val="000000"/>
                </a:solidFill>
              </a:rPr>
              <a:t>Sicherstellung, ob Kasse innerhalb der Domain erreichbar (jede 15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>
                <a:solidFill>
                  <a:srgbClr val="000000"/>
                </a:solidFill>
              </a:rPr>
              <a:t>&lt; 15 s. offline -&gt; verbleibt im reduzierten Log</a:t>
            </a: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-5867240" y="1896405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>
                <a:solidFill>
                  <a:srgbClr val="000000"/>
                </a:solidFill>
              </a:rPr>
              <a:t>Sicherstellung, ob Kasse online (jede 15 s.)</a:t>
            </a:r>
          </a:p>
          <a:p>
            <a:endParaRPr lang="de-DE" sz="18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>
                <a:solidFill>
                  <a:srgbClr val="000000"/>
                </a:solidFill>
              </a:rPr>
              <a:t>&lt; 15 s. offline -&gt; verbleibt im reduzierten Log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-5179334" y="1314511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-5389425" y="2267433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-2145116" y="1314511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-2285869" y="2267433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353172" y="1899524"/>
            <a:ext cx="11485654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642480" y="94348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353173" y="189640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12523441" y="1889268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13292629" y="1314511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12895037" y="2257510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FE2F7F81-AE48-1C0B-63E5-A9B2865144F2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D0AEA50-4396-5ED7-224C-E6FE2DCE1D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9A26646F-2D9E-2D4F-A32A-CDE1BD5440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862305"/>
              </p:ext>
            </p:extLst>
          </p:nvPr>
        </p:nvGraphicFramePr>
        <p:xfrm>
          <a:off x="554884" y="2267433"/>
          <a:ext cx="10936900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5927">
                  <a:extLst>
                    <a:ext uri="{9D8B030D-6E8A-4147-A177-3AD203B41FA5}">
                      <a16:colId xmlns:a16="http://schemas.microsoft.com/office/drawing/2014/main" val="2184095097"/>
                    </a:ext>
                  </a:extLst>
                </a:gridCol>
                <a:gridCol w="3150973">
                  <a:extLst>
                    <a:ext uri="{9D8B030D-6E8A-4147-A177-3AD203B41FA5}">
                      <a16:colId xmlns:a16="http://schemas.microsoft.com/office/drawing/2014/main" val="41983180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52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2023-11-01 15:14:33.7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Datum und Uhrz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23665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/>
                        <a:t>IN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Loglevel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638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{taskExecutor-scheduler-33}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Thr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93521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[001]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Unbekan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6666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[</a:t>
                      </a:r>
                      <a:r>
                        <a:rPr lang="de-DE" sz="1600" err="1"/>
                        <a:t>RemoteClientService</a:t>
                      </a:r>
                      <a:r>
                        <a:rPr lang="de-DE" sz="160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Funk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7429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 </a:t>
                      </a:r>
                      <a:r>
                        <a:rPr lang="de-DE" sz="1600" err="1"/>
                        <a:t>IMessageProvider.messages</a:t>
                      </a:r>
                      <a:r>
                        <a:rPr lang="de-DE" sz="1600"/>
                        <a:t>(..) </a:t>
                      </a:r>
                      <a:r>
                        <a:rPr lang="de-DE" sz="1600" err="1"/>
                        <a:t>returned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instance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of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MessagesResponse</a:t>
                      </a:r>
                      <a:r>
                        <a:rPr lang="de-DE" sz="1600"/>
                        <a:t> at http://.../</a:t>
                      </a:r>
                      <a:r>
                        <a:rPr lang="de-DE" sz="1600" err="1"/>
                        <a:t>command-channel</a:t>
                      </a:r>
                      <a:r>
                        <a:rPr lang="de-DE" sz="1600"/>
                        <a:t>{RemoteProxy@702b45e6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Adres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5465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ServerInstance</a:t>
                      </a:r>
                      <a:r>
                        <a:rPr lang="de-DE" sz="1600"/>
                        <a:t> [online=</a:t>
                      </a:r>
                      <a:r>
                        <a:rPr lang="de-DE" sz="1600" err="1"/>
                        <a:t>true</a:t>
                      </a:r>
                      <a:r>
                        <a:rPr lang="de-DE" sz="1600"/>
                        <a:t>, </a:t>
                      </a:r>
                      <a:r>
                        <a:rPr lang="de-DE" sz="1600" err="1"/>
                        <a:t>lastAccessTime</a:t>
                      </a:r>
                      <a:r>
                        <a:rPr lang="de-DE" sz="1600"/>
                        <a:t>=1698848013734, </a:t>
                      </a:r>
                      <a:r>
                        <a:rPr lang="de-DE" sz="1600" err="1"/>
                        <a:t>lastThrowable</a:t>
                      </a:r>
                      <a:r>
                        <a:rPr lang="de-DE" sz="1600"/>
                        <a:t>=null, </a:t>
                      </a:r>
                      <a:r>
                        <a:rPr lang="de-DE" sz="1600" err="1"/>
                        <a:t>authority</a:t>
                      </a:r>
                      <a:r>
                        <a:rPr lang="de-DE" sz="1600"/>
                        <a:t>=DE0666SPOS20001:8080]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Mess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07805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HTTPConduit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cookies</a:t>
                      </a:r>
                      <a:r>
                        <a:rPr lang="de-DE" sz="1600"/>
                        <a:t> = {JSESSIONID=3E38AC271908893EFDA770B7F5D6C99E}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JSession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867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6377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innerhalb der Domain erreichbar (jede 15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online (jede 15 s.)</a:t>
            </a:r>
          </a:p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35785" y="2267765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Checken der Verbindung zum Store-Hub (jede 60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60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60 = 120 Zeilen weniger pro Stunde </a:t>
            </a:r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38497" y="226776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156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-6154567" y="1899192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-9077328" y="1895422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-8302924" y="1314511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-8513015" y="2267433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-5268706" y="1314511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-5409459" y="2267433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-3232270" y="1899192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-2420996" y="1314511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-2710303" y="2267433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382007" y="1899523"/>
            <a:ext cx="1145682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463761" y="990341"/>
            <a:ext cx="1040400" cy="1040400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393654" y="1899345"/>
            <a:ext cx="1218632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9FF2FC7C-4CCF-FC94-A400-30C4E7B646FB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C56FCED-1373-D0B9-7869-36AB7780EA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9D2FEFF1-1AEF-D19E-00E4-9BF78CE049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978565"/>
              </p:ext>
            </p:extLst>
          </p:nvPr>
        </p:nvGraphicFramePr>
        <p:xfrm>
          <a:off x="501301" y="2254963"/>
          <a:ext cx="11114050" cy="3847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640">
                  <a:extLst>
                    <a:ext uri="{9D8B030D-6E8A-4147-A177-3AD203B41FA5}">
                      <a16:colId xmlns:a16="http://schemas.microsoft.com/office/drawing/2014/main" val="280204054"/>
                    </a:ext>
                  </a:extLst>
                </a:gridCol>
                <a:gridCol w="2854410">
                  <a:extLst>
                    <a:ext uri="{9D8B030D-6E8A-4147-A177-3AD203B41FA5}">
                      <a16:colId xmlns:a16="http://schemas.microsoft.com/office/drawing/2014/main" val="1699740028"/>
                    </a:ext>
                  </a:extLst>
                </a:gridCol>
              </a:tblGrid>
              <a:tr h="505709">
                <a:tc>
                  <a:txBody>
                    <a:bodyPr/>
                    <a:lstStyle/>
                    <a:p>
                      <a:r>
                        <a:rPr lang="de-DE" sz="160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295935"/>
                  </a:ext>
                </a:extLst>
              </a:tr>
              <a:tr h="3973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2023-11-01 12:01:20.00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Datum und Uhrz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10701"/>
                  </a:ext>
                </a:extLst>
              </a:tr>
              <a:tr h="398371">
                <a:tc>
                  <a:txBody>
                    <a:bodyPr/>
                    <a:lstStyle/>
                    <a:p>
                      <a:r>
                        <a:rPr lang="de-DE" sz="1600"/>
                        <a:t>IN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Loglevel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685907"/>
                  </a:ext>
                </a:extLst>
              </a:tr>
              <a:tr h="407136">
                <a:tc>
                  <a:txBody>
                    <a:bodyPr/>
                    <a:lstStyle/>
                    <a:p>
                      <a:r>
                        <a:rPr lang="de-DE" sz="1600"/>
                        <a:t>{taskExecutor-51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Thr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512205"/>
                  </a:ext>
                </a:extLst>
              </a:tr>
              <a:tr h="4157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[001]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unbekan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4548234"/>
                  </a:ext>
                </a:extLst>
              </a:tr>
              <a:tr h="608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[</a:t>
                      </a:r>
                      <a:r>
                        <a:rPr lang="de-DE" sz="1600" err="1"/>
                        <a:t>RemoteClientService</a:t>
                      </a:r>
                      <a:r>
                        <a:rPr lang="de-DE" sz="1600"/>
                        <a:t>] </a:t>
                      </a:r>
                      <a:r>
                        <a:rPr lang="de-DE" sz="1600" err="1"/>
                        <a:t>IPingService.pingRequest</a:t>
                      </a:r>
                      <a:r>
                        <a:rPr lang="de-DE" sz="1600"/>
                        <a:t>(..) at http://DE0666SPOS20001:8080/</a:t>
                      </a:r>
                      <a:r>
                        <a:rPr lang="de-DE" sz="1600" err="1"/>
                        <a:t>swee</a:t>
                      </a:r>
                      <a:r>
                        <a:rPr lang="de-DE" sz="1600"/>
                        <a:t>-store-hub/</a:t>
                      </a:r>
                      <a:r>
                        <a:rPr lang="de-DE" sz="1600" err="1"/>
                        <a:t>rest</a:t>
                      </a:r>
                      <a:r>
                        <a:rPr lang="de-DE" sz="1600"/>
                        <a:t>/</a:t>
                      </a:r>
                      <a:r>
                        <a:rPr lang="de-DE" sz="1600" err="1"/>
                        <a:t>tx</a:t>
                      </a:r>
                      <a:r>
                        <a:rPr lang="de-DE" sz="1600"/>
                        <a:t>-pool{RemoteProxy@19aac9d0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Adres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2980129"/>
                  </a:ext>
                </a:extLst>
              </a:tr>
              <a:tr h="608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ServerInstance</a:t>
                      </a:r>
                      <a:r>
                        <a:rPr lang="de-DE" sz="1600"/>
                        <a:t> [online=</a:t>
                      </a:r>
                      <a:r>
                        <a:rPr lang="de-DE" sz="1600" err="1"/>
                        <a:t>true</a:t>
                      </a:r>
                      <a:r>
                        <a:rPr lang="de-DE" sz="1600"/>
                        <a:t>, </a:t>
                      </a:r>
                      <a:r>
                        <a:rPr lang="de-DE" sz="1600" err="1"/>
                        <a:t>lastAccessTime</a:t>
                      </a:r>
                      <a:r>
                        <a:rPr lang="de-DE" sz="1600"/>
                        <a:t>=1698836460009, </a:t>
                      </a:r>
                      <a:r>
                        <a:rPr lang="de-DE" sz="1600" err="1"/>
                        <a:t>lastThrowable</a:t>
                      </a:r>
                      <a:r>
                        <a:rPr lang="de-DE" sz="1600"/>
                        <a:t>=</a:t>
                      </a:r>
                      <a:r>
                        <a:rPr lang="de-DE" sz="1600" err="1"/>
                        <a:t>RemoteClientServiceException</a:t>
                      </a:r>
                      <a:r>
                        <a:rPr lang="de-DE" sz="1600"/>
                        <a:t>, </a:t>
                      </a:r>
                      <a:r>
                        <a:rPr lang="de-DE" sz="1600" err="1"/>
                        <a:t>authority</a:t>
                      </a:r>
                      <a:r>
                        <a:rPr lang="de-DE" sz="1600"/>
                        <a:t>=DE0666SPOS20001:8080]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Mess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041752"/>
                  </a:ext>
                </a:extLst>
              </a:tr>
              <a:tr h="5057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HTTPConduit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cookies</a:t>
                      </a:r>
                      <a:r>
                        <a:rPr lang="de-DE" sz="1600"/>
                        <a:t> = {JSESSIONID=9041CB76FCFE17506ECAD8F0C7B44AE8}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JSession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3544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91331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innerhalb der Domain erreichbar (jede 15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online (jede 15 s.)</a:t>
            </a:r>
          </a:p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35785" y="2267765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Checken der Verbindung zum Store-Hub (jede 60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60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60 = 120 Zeilen weniger pro Stunde </a:t>
            </a:r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38497" y="226776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Ping an den </a:t>
            </a:r>
            <a:r>
              <a:rPr lang="de-DE" sz="1600" err="1">
                <a:solidFill>
                  <a:srgbClr val="000000"/>
                </a:solidFill>
              </a:rPr>
              <a:t>StoreServer</a:t>
            </a:r>
            <a:r>
              <a:rPr lang="de-DE" sz="1600">
                <a:solidFill>
                  <a:srgbClr val="000000"/>
                </a:solidFill>
              </a:rPr>
              <a:t> (jede 60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60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60 = 120 Zeilen weniger pro Stunde </a:t>
            </a:r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584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59997" y="1540173"/>
            <a:ext cx="2700000" cy="177084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37236" y="1536403"/>
            <a:ext cx="2700000" cy="1772479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11640" y="955492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01549" y="1908414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45858" y="955492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05105" y="1908414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182294" y="1540173"/>
            <a:ext cx="2700000" cy="177084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60 = 120 Zeilen weniger pro Stunde </a:t>
            </a:r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6993568" y="955492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04261" y="1908414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04591" y="1540172"/>
            <a:ext cx="2700000" cy="177084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60 = 120 Zeilen weniger pro Stunde </a:t>
            </a:r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873779" y="965415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476187" y="1908414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  <p:sp>
        <p:nvSpPr>
          <p:cNvPr id="2" name="Grafik 49">
            <a:extLst>
              <a:ext uri="{FF2B5EF4-FFF2-40B4-BE49-F238E27FC236}">
                <a16:creationId xmlns:a16="http://schemas.microsoft.com/office/drawing/2014/main" id="{25AD8806-2397-2DFE-772F-28DB2D327832}"/>
              </a:ext>
            </a:extLst>
          </p:cNvPr>
          <p:cNvSpPr/>
          <p:nvPr/>
        </p:nvSpPr>
        <p:spPr>
          <a:xfrm flipV="1">
            <a:off x="674835" y="3591371"/>
            <a:ext cx="4423375" cy="643853"/>
          </a:xfrm>
          <a:custGeom>
            <a:avLst/>
            <a:gdLst>
              <a:gd name="connsiteX0" fmla="*/ 17439 w 8620009"/>
              <a:gd name="connsiteY0" fmla="*/ 2333593 h 2590252"/>
              <a:gd name="connsiteX1" fmla="*/ 17439 w 8620009"/>
              <a:gd name="connsiteY1" fmla="*/ 748062 h 2590252"/>
              <a:gd name="connsiteX2" fmla="*/ 115928 w 8620009"/>
              <a:gd name="connsiteY2" fmla="*/ 25400 h 2590252"/>
              <a:gd name="connsiteX3" fmla="*/ 3132209 w 8620009"/>
              <a:gd name="connsiteY3" fmla="*/ 25400 h 2590252"/>
              <a:gd name="connsiteX4" fmla="*/ 6822957 w 8620009"/>
              <a:gd name="connsiteY4" fmla="*/ 25400 h 2590252"/>
              <a:gd name="connsiteX5" fmla="*/ 8602226 w 8620009"/>
              <a:gd name="connsiteY5" fmla="*/ 106362 h 2590252"/>
              <a:gd name="connsiteX6" fmla="*/ 8546886 w 8620009"/>
              <a:gd name="connsiteY6" fmla="*/ 1166781 h 2590252"/>
              <a:gd name="connsiteX7" fmla="*/ 8521645 w 8620009"/>
              <a:gd name="connsiteY7" fmla="*/ 2578100 h 2590252"/>
              <a:gd name="connsiteX8" fmla="*/ 4844043 w 8620009"/>
              <a:gd name="connsiteY8" fmla="*/ 2522379 h 2590252"/>
              <a:gd name="connsiteX9" fmla="*/ 1537820 w 8620009"/>
              <a:gd name="connsiteY9" fmla="*/ 2578100 h 2590252"/>
              <a:gd name="connsiteX10" fmla="*/ 17439 w 8620009"/>
              <a:gd name="connsiteY10" fmla="*/ 2333593 h 25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20009" h="2590252">
                <a:moveTo>
                  <a:pt x="17439" y="2333593"/>
                </a:moveTo>
                <a:cubicBezTo>
                  <a:pt x="21059" y="1981168"/>
                  <a:pt x="44776" y="961993"/>
                  <a:pt x="17439" y="748062"/>
                </a:cubicBezTo>
                <a:cubicBezTo>
                  <a:pt x="-9898" y="534130"/>
                  <a:pt x="-22471" y="25400"/>
                  <a:pt x="115928" y="25400"/>
                </a:cubicBezTo>
                <a:cubicBezTo>
                  <a:pt x="254326" y="25400"/>
                  <a:pt x="2625194" y="82550"/>
                  <a:pt x="3132209" y="25400"/>
                </a:cubicBezTo>
                <a:cubicBezTo>
                  <a:pt x="3639225" y="-31750"/>
                  <a:pt x="6583784" y="25400"/>
                  <a:pt x="6822957" y="25400"/>
                </a:cubicBezTo>
                <a:cubicBezTo>
                  <a:pt x="7062129" y="25400"/>
                  <a:pt x="8544409" y="-57277"/>
                  <a:pt x="8602226" y="106362"/>
                </a:cubicBezTo>
                <a:cubicBezTo>
                  <a:pt x="8660043" y="270002"/>
                  <a:pt x="8559459" y="981424"/>
                  <a:pt x="8546886" y="1166781"/>
                </a:cubicBezTo>
                <a:cubicBezTo>
                  <a:pt x="8534313" y="1352137"/>
                  <a:pt x="8697858" y="2578100"/>
                  <a:pt x="8521645" y="2578100"/>
                </a:cubicBezTo>
                <a:cubicBezTo>
                  <a:pt x="8345433" y="2578100"/>
                  <a:pt x="5306481" y="2534952"/>
                  <a:pt x="4844043" y="2522379"/>
                </a:cubicBezTo>
                <a:cubicBezTo>
                  <a:pt x="4381604" y="2509806"/>
                  <a:pt x="2028643" y="2578100"/>
                  <a:pt x="1537820" y="2578100"/>
                </a:cubicBezTo>
                <a:cubicBezTo>
                  <a:pt x="1046997" y="2578100"/>
                  <a:pt x="14391" y="2672779"/>
                  <a:pt x="17439" y="2333593"/>
                </a:cubicBezTo>
                <a:close/>
              </a:path>
            </a:pathLst>
          </a:custGeom>
          <a:solidFill>
            <a:srgbClr val="EE1F26"/>
          </a:solidFill>
          <a:ln w="38100" cap="rnd">
            <a:solidFill>
              <a:srgbClr val="EE1F26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3" name="Grafik 31">
            <a:extLst>
              <a:ext uri="{FF2B5EF4-FFF2-40B4-BE49-F238E27FC236}">
                <a16:creationId xmlns:a16="http://schemas.microsoft.com/office/drawing/2014/main" id="{51ACE91E-9E94-ED89-737F-0ED7C7C3D1B1}"/>
              </a:ext>
            </a:extLst>
          </p:cNvPr>
          <p:cNvSpPr>
            <a:spLocks noChangeAspect="1"/>
          </p:cNvSpPr>
          <p:nvPr/>
        </p:nvSpPr>
        <p:spPr>
          <a:xfrm flipH="1">
            <a:off x="827118" y="3670604"/>
            <a:ext cx="506457" cy="497036"/>
          </a:xfrm>
          <a:custGeom>
            <a:avLst/>
            <a:gdLst>
              <a:gd name="connsiteX0" fmla="*/ 1647029 w 1647029"/>
              <a:gd name="connsiteY0" fmla="*/ 160973 h 1616392"/>
              <a:gd name="connsiteX1" fmla="*/ 1647029 w 1647029"/>
              <a:gd name="connsiteY1" fmla="*/ 1174433 h 1616392"/>
              <a:gd name="connsiteX2" fmla="*/ 1391759 w 1647029"/>
              <a:gd name="connsiteY2" fmla="*/ 1323023 h 1616392"/>
              <a:gd name="connsiteX3" fmla="*/ 686909 w 1647029"/>
              <a:gd name="connsiteY3" fmla="*/ 1316355 h 1616392"/>
              <a:gd name="connsiteX4" fmla="*/ 49687 w 1647029"/>
              <a:gd name="connsiteY4" fmla="*/ 1584960 h 1616392"/>
              <a:gd name="connsiteX5" fmla="*/ 10634 w 1647029"/>
              <a:gd name="connsiteY5" fmla="*/ 1616393 h 1616392"/>
              <a:gd name="connsiteX6" fmla="*/ 2062 w 1647029"/>
              <a:gd name="connsiteY6" fmla="*/ 1563053 h 1616392"/>
              <a:gd name="connsiteX7" fmla="*/ 157 w 1647029"/>
              <a:gd name="connsiteY7" fmla="*/ 265748 h 1616392"/>
              <a:gd name="connsiteX8" fmla="*/ 160177 w 1647029"/>
              <a:gd name="connsiteY8" fmla="*/ 0 h 1616392"/>
              <a:gd name="connsiteX9" fmla="*/ 1476532 w 1647029"/>
              <a:gd name="connsiteY9" fmla="*/ 0 h 1616392"/>
              <a:gd name="connsiteX10" fmla="*/ 1647029 w 1647029"/>
              <a:gd name="connsiteY10" fmla="*/ 160973 h 1616392"/>
              <a:gd name="connsiteX11" fmla="*/ 911699 w 1647029"/>
              <a:gd name="connsiteY11" fmla="*/ 501015 h 1616392"/>
              <a:gd name="connsiteX12" fmla="*/ 780254 w 1647029"/>
              <a:gd name="connsiteY12" fmla="*/ 328613 h 1616392"/>
              <a:gd name="connsiteX13" fmla="*/ 727867 w 1647029"/>
              <a:gd name="connsiteY13" fmla="*/ 379095 h 1616392"/>
              <a:gd name="connsiteX14" fmla="*/ 724057 w 1647029"/>
              <a:gd name="connsiteY14" fmla="*/ 591503 h 1616392"/>
              <a:gd name="connsiteX15" fmla="*/ 800257 w 1647029"/>
              <a:gd name="connsiteY15" fmla="*/ 669608 h 1616392"/>
              <a:gd name="connsiteX16" fmla="*/ 912652 w 1647029"/>
              <a:gd name="connsiteY16" fmla="*/ 552450 h 1616392"/>
              <a:gd name="connsiteX17" fmla="*/ 911699 w 1647029"/>
              <a:gd name="connsiteY17" fmla="*/ 501015 h 1616392"/>
              <a:gd name="connsiteX18" fmla="*/ 819307 w 1647029"/>
              <a:gd name="connsiteY18" fmla="*/ 994410 h 1616392"/>
              <a:gd name="connsiteX19" fmla="*/ 914557 w 1647029"/>
              <a:gd name="connsiteY19" fmla="*/ 909638 h 1616392"/>
              <a:gd name="connsiteX20" fmla="*/ 822164 w 1647029"/>
              <a:gd name="connsiteY20" fmla="*/ 816293 h 1616392"/>
              <a:gd name="connsiteX21" fmla="*/ 723104 w 1647029"/>
              <a:gd name="connsiteY21" fmla="*/ 907733 h 1616392"/>
              <a:gd name="connsiteX22" fmla="*/ 819307 w 1647029"/>
              <a:gd name="connsiteY22" fmla="*/ 994410 h 1616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47029" h="1616392">
                <a:moveTo>
                  <a:pt x="1647029" y="160973"/>
                </a:moveTo>
                <a:cubicBezTo>
                  <a:pt x="1647029" y="499110"/>
                  <a:pt x="1647029" y="836295"/>
                  <a:pt x="1647029" y="1174433"/>
                </a:cubicBezTo>
                <a:cubicBezTo>
                  <a:pt x="1607977" y="1303973"/>
                  <a:pt x="1511774" y="1325880"/>
                  <a:pt x="1391759" y="1323023"/>
                </a:cubicBezTo>
                <a:cubicBezTo>
                  <a:pt x="1156492" y="1318260"/>
                  <a:pt x="919319" y="1340168"/>
                  <a:pt x="686909" y="1316355"/>
                </a:cubicBezTo>
                <a:cubicBezTo>
                  <a:pt x="415447" y="1288733"/>
                  <a:pt x="205897" y="1362075"/>
                  <a:pt x="49687" y="1584960"/>
                </a:cubicBezTo>
                <a:cubicBezTo>
                  <a:pt x="40162" y="1598295"/>
                  <a:pt x="23969" y="1605915"/>
                  <a:pt x="10634" y="1616393"/>
                </a:cubicBezTo>
                <a:cubicBezTo>
                  <a:pt x="7777" y="1598295"/>
                  <a:pt x="2062" y="1581150"/>
                  <a:pt x="2062" y="1563053"/>
                </a:cubicBezTo>
                <a:cubicBezTo>
                  <a:pt x="1109" y="1130618"/>
                  <a:pt x="3967" y="698183"/>
                  <a:pt x="157" y="265748"/>
                </a:cubicBezTo>
                <a:cubicBezTo>
                  <a:pt x="-1748" y="138113"/>
                  <a:pt x="11587" y="31432"/>
                  <a:pt x="160177" y="0"/>
                </a:cubicBezTo>
                <a:cubicBezTo>
                  <a:pt x="599279" y="0"/>
                  <a:pt x="1037429" y="0"/>
                  <a:pt x="1476532" y="0"/>
                </a:cubicBezTo>
                <a:cubicBezTo>
                  <a:pt x="1564162" y="20955"/>
                  <a:pt x="1624169" y="70485"/>
                  <a:pt x="1647029" y="160973"/>
                </a:cubicBezTo>
                <a:close/>
                <a:moveTo>
                  <a:pt x="911699" y="501015"/>
                </a:moveTo>
                <a:cubicBezTo>
                  <a:pt x="911699" y="324803"/>
                  <a:pt x="911699" y="322898"/>
                  <a:pt x="780254" y="328613"/>
                </a:cubicBezTo>
                <a:cubicBezTo>
                  <a:pt x="761204" y="329565"/>
                  <a:pt x="729772" y="360045"/>
                  <a:pt x="727867" y="379095"/>
                </a:cubicBezTo>
                <a:cubicBezTo>
                  <a:pt x="721199" y="449580"/>
                  <a:pt x="727867" y="521017"/>
                  <a:pt x="724057" y="591503"/>
                </a:cubicBezTo>
                <a:cubicBezTo>
                  <a:pt x="720247" y="649605"/>
                  <a:pt x="739297" y="665798"/>
                  <a:pt x="800257" y="669608"/>
                </a:cubicBezTo>
                <a:cubicBezTo>
                  <a:pt x="896459" y="677228"/>
                  <a:pt x="928844" y="643890"/>
                  <a:pt x="912652" y="552450"/>
                </a:cubicBezTo>
                <a:cubicBezTo>
                  <a:pt x="908842" y="536258"/>
                  <a:pt x="911699" y="518160"/>
                  <a:pt x="911699" y="501015"/>
                </a:cubicBezTo>
                <a:close/>
                <a:moveTo>
                  <a:pt x="819307" y="994410"/>
                </a:moveTo>
                <a:cubicBezTo>
                  <a:pt x="895507" y="1019175"/>
                  <a:pt x="914557" y="983933"/>
                  <a:pt x="914557" y="909638"/>
                </a:cubicBezTo>
                <a:cubicBezTo>
                  <a:pt x="914557" y="838200"/>
                  <a:pt x="896459" y="814388"/>
                  <a:pt x="822164" y="816293"/>
                </a:cubicBezTo>
                <a:cubicBezTo>
                  <a:pt x="753584" y="818198"/>
                  <a:pt x="719294" y="826770"/>
                  <a:pt x="723104" y="907733"/>
                </a:cubicBezTo>
                <a:cubicBezTo>
                  <a:pt x="725009" y="978218"/>
                  <a:pt x="736439" y="1019175"/>
                  <a:pt x="819307" y="9944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0A868EA3-2713-2D6B-7BA7-1FA91C2F3946}"/>
              </a:ext>
            </a:extLst>
          </p:cNvPr>
          <p:cNvSpPr txBox="1">
            <a:spLocks/>
          </p:cNvSpPr>
          <p:nvPr/>
        </p:nvSpPr>
        <p:spPr>
          <a:xfrm>
            <a:off x="1377679" y="3695011"/>
            <a:ext cx="3764635" cy="4970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EE1F26"/>
              </a:buClr>
              <a:buNone/>
              <a:defRPr/>
            </a:pPr>
            <a:r>
              <a:rPr lang="de-DE" sz="1600" b="1">
                <a:solidFill>
                  <a:schemeClr val="bg1"/>
                </a:solidFill>
              </a:rPr>
              <a:t>Ca. 1.200 Zeilen pro Stunde weniger</a:t>
            </a:r>
          </a:p>
        </p:txBody>
      </p:sp>
      <p:sp>
        <p:nvSpPr>
          <p:cNvPr id="7" name="Grafik 49">
            <a:extLst>
              <a:ext uri="{FF2B5EF4-FFF2-40B4-BE49-F238E27FC236}">
                <a16:creationId xmlns:a16="http://schemas.microsoft.com/office/drawing/2014/main" id="{518A590C-98A5-1AE5-0912-4C80BEC6B1DB}"/>
              </a:ext>
            </a:extLst>
          </p:cNvPr>
          <p:cNvSpPr/>
          <p:nvPr/>
        </p:nvSpPr>
        <p:spPr>
          <a:xfrm flipV="1">
            <a:off x="6918349" y="3591371"/>
            <a:ext cx="4423375" cy="643853"/>
          </a:xfrm>
          <a:custGeom>
            <a:avLst/>
            <a:gdLst>
              <a:gd name="connsiteX0" fmla="*/ 17439 w 8620009"/>
              <a:gd name="connsiteY0" fmla="*/ 2333593 h 2590252"/>
              <a:gd name="connsiteX1" fmla="*/ 17439 w 8620009"/>
              <a:gd name="connsiteY1" fmla="*/ 748062 h 2590252"/>
              <a:gd name="connsiteX2" fmla="*/ 115928 w 8620009"/>
              <a:gd name="connsiteY2" fmla="*/ 25400 h 2590252"/>
              <a:gd name="connsiteX3" fmla="*/ 3132209 w 8620009"/>
              <a:gd name="connsiteY3" fmla="*/ 25400 h 2590252"/>
              <a:gd name="connsiteX4" fmla="*/ 6822957 w 8620009"/>
              <a:gd name="connsiteY4" fmla="*/ 25400 h 2590252"/>
              <a:gd name="connsiteX5" fmla="*/ 8602226 w 8620009"/>
              <a:gd name="connsiteY5" fmla="*/ 106362 h 2590252"/>
              <a:gd name="connsiteX6" fmla="*/ 8546886 w 8620009"/>
              <a:gd name="connsiteY6" fmla="*/ 1166781 h 2590252"/>
              <a:gd name="connsiteX7" fmla="*/ 8521645 w 8620009"/>
              <a:gd name="connsiteY7" fmla="*/ 2578100 h 2590252"/>
              <a:gd name="connsiteX8" fmla="*/ 4844043 w 8620009"/>
              <a:gd name="connsiteY8" fmla="*/ 2522379 h 2590252"/>
              <a:gd name="connsiteX9" fmla="*/ 1537820 w 8620009"/>
              <a:gd name="connsiteY9" fmla="*/ 2578100 h 2590252"/>
              <a:gd name="connsiteX10" fmla="*/ 17439 w 8620009"/>
              <a:gd name="connsiteY10" fmla="*/ 2333593 h 25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20009" h="2590252">
                <a:moveTo>
                  <a:pt x="17439" y="2333593"/>
                </a:moveTo>
                <a:cubicBezTo>
                  <a:pt x="21059" y="1981168"/>
                  <a:pt x="44776" y="961993"/>
                  <a:pt x="17439" y="748062"/>
                </a:cubicBezTo>
                <a:cubicBezTo>
                  <a:pt x="-9898" y="534130"/>
                  <a:pt x="-22471" y="25400"/>
                  <a:pt x="115928" y="25400"/>
                </a:cubicBezTo>
                <a:cubicBezTo>
                  <a:pt x="254326" y="25400"/>
                  <a:pt x="2625194" y="82550"/>
                  <a:pt x="3132209" y="25400"/>
                </a:cubicBezTo>
                <a:cubicBezTo>
                  <a:pt x="3639225" y="-31750"/>
                  <a:pt x="6583784" y="25400"/>
                  <a:pt x="6822957" y="25400"/>
                </a:cubicBezTo>
                <a:cubicBezTo>
                  <a:pt x="7062129" y="25400"/>
                  <a:pt x="8544409" y="-57277"/>
                  <a:pt x="8602226" y="106362"/>
                </a:cubicBezTo>
                <a:cubicBezTo>
                  <a:pt x="8660043" y="270002"/>
                  <a:pt x="8559459" y="981424"/>
                  <a:pt x="8546886" y="1166781"/>
                </a:cubicBezTo>
                <a:cubicBezTo>
                  <a:pt x="8534313" y="1352137"/>
                  <a:pt x="8697858" y="2578100"/>
                  <a:pt x="8521645" y="2578100"/>
                </a:cubicBezTo>
                <a:cubicBezTo>
                  <a:pt x="8345433" y="2578100"/>
                  <a:pt x="5306481" y="2534952"/>
                  <a:pt x="4844043" y="2522379"/>
                </a:cubicBezTo>
                <a:cubicBezTo>
                  <a:pt x="4381604" y="2509806"/>
                  <a:pt x="2028643" y="2578100"/>
                  <a:pt x="1537820" y="2578100"/>
                </a:cubicBezTo>
                <a:cubicBezTo>
                  <a:pt x="1046997" y="2578100"/>
                  <a:pt x="14391" y="2672779"/>
                  <a:pt x="17439" y="2333593"/>
                </a:cubicBezTo>
                <a:close/>
              </a:path>
            </a:pathLst>
          </a:custGeom>
          <a:solidFill>
            <a:srgbClr val="EE1F26"/>
          </a:solidFill>
          <a:ln w="38100" cap="rnd">
            <a:solidFill>
              <a:srgbClr val="EE1F26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8" name="Grafik 31">
            <a:extLst>
              <a:ext uri="{FF2B5EF4-FFF2-40B4-BE49-F238E27FC236}">
                <a16:creationId xmlns:a16="http://schemas.microsoft.com/office/drawing/2014/main" id="{B4343059-E68B-042E-3120-56492B3A952B}"/>
              </a:ext>
            </a:extLst>
          </p:cNvPr>
          <p:cNvSpPr>
            <a:spLocks noChangeAspect="1"/>
          </p:cNvSpPr>
          <p:nvPr/>
        </p:nvSpPr>
        <p:spPr>
          <a:xfrm flipH="1">
            <a:off x="7070632" y="3670604"/>
            <a:ext cx="506457" cy="497036"/>
          </a:xfrm>
          <a:custGeom>
            <a:avLst/>
            <a:gdLst>
              <a:gd name="connsiteX0" fmla="*/ 1647029 w 1647029"/>
              <a:gd name="connsiteY0" fmla="*/ 160973 h 1616392"/>
              <a:gd name="connsiteX1" fmla="*/ 1647029 w 1647029"/>
              <a:gd name="connsiteY1" fmla="*/ 1174433 h 1616392"/>
              <a:gd name="connsiteX2" fmla="*/ 1391759 w 1647029"/>
              <a:gd name="connsiteY2" fmla="*/ 1323023 h 1616392"/>
              <a:gd name="connsiteX3" fmla="*/ 686909 w 1647029"/>
              <a:gd name="connsiteY3" fmla="*/ 1316355 h 1616392"/>
              <a:gd name="connsiteX4" fmla="*/ 49687 w 1647029"/>
              <a:gd name="connsiteY4" fmla="*/ 1584960 h 1616392"/>
              <a:gd name="connsiteX5" fmla="*/ 10634 w 1647029"/>
              <a:gd name="connsiteY5" fmla="*/ 1616393 h 1616392"/>
              <a:gd name="connsiteX6" fmla="*/ 2062 w 1647029"/>
              <a:gd name="connsiteY6" fmla="*/ 1563053 h 1616392"/>
              <a:gd name="connsiteX7" fmla="*/ 157 w 1647029"/>
              <a:gd name="connsiteY7" fmla="*/ 265748 h 1616392"/>
              <a:gd name="connsiteX8" fmla="*/ 160177 w 1647029"/>
              <a:gd name="connsiteY8" fmla="*/ 0 h 1616392"/>
              <a:gd name="connsiteX9" fmla="*/ 1476532 w 1647029"/>
              <a:gd name="connsiteY9" fmla="*/ 0 h 1616392"/>
              <a:gd name="connsiteX10" fmla="*/ 1647029 w 1647029"/>
              <a:gd name="connsiteY10" fmla="*/ 160973 h 1616392"/>
              <a:gd name="connsiteX11" fmla="*/ 911699 w 1647029"/>
              <a:gd name="connsiteY11" fmla="*/ 501015 h 1616392"/>
              <a:gd name="connsiteX12" fmla="*/ 780254 w 1647029"/>
              <a:gd name="connsiteY12" fmla="*/ 328613 h 1616392"/>
              <a:gd name="connsiteX13" fmla="*/ 727867 w 1647029"/>
              <a:gd name="connsiteY13" fmla="*/ 379095 h 1616392"/>
              <a:gd name="connsiteX14" fmla="*/ 724057 w 1647029"/>
              <a:gd name="connsiteY14" fmla="*/ 591503 h 1616392"/>
              <a:gd name="connsiteX15" fmla="*/ 800257 w 1647029"/>
              <a:gd name="connsiteY15" fmla="*/ 669608 h 1616392"/>
              <a:gd name="connsiteX16" fmla="*/ 912652 w 1647029"/>
              <a:gd name="connsiteY16" fmla="*/ 552450 h 1616392"/>
              <a:gd name="connsiteX17" fmla="*/ 911699 w 1647029"/>
              <a:gd name="connsiteY17" fmla="*/ 501015 h 1616392"/>
              <a:gd name="connsiteX18" fmla="*/ 819307 w 1647029"/>
              <a:gd name="connsiteY18" fmla="*/ 994410 h 1616392"/>
              <a:gd name="connsiteX19" fmla="*/ 914557 w 1647029"/>
              <a:gd name="connsiteY19" fmla="*/ 909638 h 1616392"/>
              <a:gd name="connsiteX20" fmla="*/ 822164 w 1647029"/>
              <a:gd name="connsiteY20" fmla="*/ 816293 h 1616392"/>
              <a:gd name="connsiteX21" fmla="*/ 723104 w 1647029"/>
              <a:gd name="connsiteY21" fmla="*/ 907733 h 1616392"/>
              <a:gd name="connsiteX22" fmla="*/ 819307 w 1647029"/>
              <a:gd name="connsiteY22" fmla="*/ 994410 h 1616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47029" h="1616392">
                <a:moveTo>
                  <a:pt x="1647029" y="160973"/>
                </a:moveTo>
                <a:cubicBezTo>
                  <a:pt x="1647029" y="499110"/>
                  <a:pt x="1647029" y="836295"/>
                  <a:pt x="1647029" y="1174433"/>
                </a:cubicBezTo>
                <a:cubicBezTo>
                  <a:pt x="1607977" y="1303973"/>
                  <a:pt x="1511774" y="1325880"/>
                  <a:pt x="1391759" y="1323023"/>
                </a:cubicBezTo>
                <a:cubicBezTo>
                  <a:pt x="1156492" y="1318260"/>
                  <a:pt x="919319" y="1340168"/>
                  <a:pt x="686909" y="1316355"/>
                </a:cubicBezTo>
                <a:cubicBezTo>
                  <a:pt x="415447" y="1288733"/>
                  <a:pt x="205897" y="1362075"/>
                  <a:pt x="49687" y="1584960"/>
                </a:cubicBezTo>
                <a:cubicBezTo>
                  <a:pt x="40162" y="1598295"/>
                  <a:pt x="23969" y="1605915"/>
                  <a:pt x="10634" y="1616393"/>
                </a:cubicBezTo>
                <a:cubicBezTo>
                  <a:pt x="7777" y="1598295"/>
                  <a:pt x="2062" y="1581150"/>
                  <a:pt x="2062" y="1563053"/>
                </a:cubicBezTo>
                <a:cubicBezTo>
                  <a:pt x="1109" y="1130618"/>
                  <a:pt x="3967" y="698183"/>
                  <a:pt x="157" y="265748"/>
                </a:cubicBezTo>
                <a:cubicBezTo>
                  <a:pt x="-1748" y="138113"/>
                  <a:pt x="11587" y="31432"/>
                  <a:pt x="160177" y="0"/>
                </a:cubicBezTo>
                <a:cubicBezTo>
                  <a:pt x="599279" y="0"/>
                  <a:pt x="1037429" y="0"/>
                  <a:pt x="1476532" y="0"/>
                </a:cubicBezTo>
                <a:cubicBezTo>
                  <a:pt x="1564162" y="20955"/>
                  <a:pt x="1624169" y="70485"/>
                  <a:pt x="1647029" y="160973"/>
                </a:cubicBezTo>
                <a:close/>
                <a:moveTo>
                  <a:pt x="911699" y="501015"/>
                </a:moveTo>
                <a:cubicBezTo>
                  <a:pt x="911699" y="324803"/>
                  <a:pt x="911699" y="322898"/>
                  <a:pt x="780254" y="328613"/>
                </a:cubicBezTo>
                <a:cubicBezTo>
                  <a:pt x="761204" y="329565"/>
                  <a:pt x="729772" y="360045"/>
                  <a:pt x="727867" y="379095"/>
                </a:cubicBezTo>
                <a:cubicBezTo>
                  <a:pt x="721199" y="449580"/>
                  <a:pt x="727867" y="521017"/>
                  <a:pt x="724057" y="591503"/>
                </a:cubicBezTo>
                <a:cubicBezTo>
                  <a:pt x="720247" y="649605"/>
                  <a:pt x="739297" y="665798"/>
                  <a:pt x="800257" y="669608"/>
                </a:cubicBezTo>
                <a:cubicBezTo>
                  <a:pt x="896459" y="677228"/>
                  <a:pt x="928844" y="643890"/>
                  <a:pt x="912652" y="552450"/>
                </a:cubicBezTo>
                <a:cubicBezTo>
                  <a:pt x="908842" y="536258"/>
                  <a:pt x="911699" y="518160"/>
                  <a:pt x="911699" y="501015"/>
                </a:cubicBezTo>
                <a:close/>
                <a:moveTo>
                  <a:pt x="819307" y="994410"/>
                </a:moveTo>
                <a:cubicBezTo>
                  <a:pt x="895507" y="1019175"/>
                  <a:pt x="914557" y="983933"/>
                  <a:pt x="914557" y="909638"/>
                </a:cubicBezTo>
                <a:cubicBezTo>
                  <a:pt x="914557" y="838200"/>
                  <a:pt x="896459" y="814388"/>
                  <a:pt x="822164" y="816293"/>
                </a:cubicBezTo>
                <a:cubicBezTo>
                  <a:pt x="753584" y="818198"/>
                  <a:pt x="719294" y="826770"/>
                  <a:pt x="723104" y="907733"/>
                </a:cubicBezTo>
                <a:cubicBezTo>
                  <a:pt x="725009" y="978218"/>
                  <a:pt x="736439" y="1019175"/>
                  <a:pt x="819307" y="9944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15377361-ACFE-3B97-379D-37D66588AA2D}"/>
              </a:ext>
            </a:extLst>
          </p:cNvPr>
          <p:cNvSpPr txBox="1">
            <a:spLocks/>
          </p:cNvSpPr>
          <p:nvPr/>
        </p:nvSpPr>
        <p:spPr>
          <a:xfrm>
            <a:off x="7621193" y="3695011"/>
            <a:ext cx="3611981" cy="4970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EE1F26"/>
              </a:buClr>
              <a:buNone/>
              <a:defRPr/>
            </a:pPr>
            <a:r>
              <a:rPr lang="de-DE" sz="1600" b="1">
                <a:solidFill>
                  <a:schemeClr val="bg1"/>
                </a:solidFill>
              </a:rPr>
              <a:t>Ca. 28.800 Zeilen pro Tag weniger</a:t>
            </a:r>
          </a:p>
        </p:txBody>
      </p:sp>
      <p:sp>
        <p:nvSpPr>
          <p:cNvPr id="11" name="Grafik 49">
            <a:extLst>
              <a:ext uri="{FF2B5EF4-FFF2-40B4-BE49-F238E27FC236}">
                <a16:creationId xmlns:a16="http://schemas.microsoft.com/office/drawing/2014/main" id="{06F7BD2B-8D88-580B-94EA-54AC69568128}"/>
              </a:ext>
            </a:extLst>
          </p:cNvPr>
          <p:cNvSpPr/>
          <p:nvPr/>
        </p:nvSpPr>
        <p:spPr>
          <a:xfrm flipV="1">
            <a:off x="674835" y="4673974"/>
            <a:ext cx="4423375" cy="643853"/>
          </a:xfrm>
          <a:custGeom>
            <a:avLst/>
            <a:gdLst>
              <a:gd name="connsiteX0" fmla="*/ 17439 w 8620009"/>
              <a:gd name="connsiteY0" fmla="*/ 2333593 h 2590252"/>
              <a:gd name="connsiteX1" fmla="*/ 17439 w 8620009"/>
              <a:gd name="connsiteY1" fmla="*/ 748062 h 2590252"/>
              <a:gd name="connsiteX2" fmla="*/ 115928 w 8620009"/>
              <a:gd name="connsiteY2" fmla="*/ 25400 h 2590252"/>
              <a:gd name="connsiteX3" fmla="*/ 3132209 w 8620009"/>
              <a:gd name="connsiteY3" fmla="*/ 25400 h 2590252"/>
              <a:gd name="connsiteX4" fmla="*/ 6822957 w 8620009"/>
              <a:gd name="connsiteY4" fmla="*/ 25400 h 2590252"/>
              <a:gd name="connsiteX5" fmla="*/ 8602226 w 8620009"/>
              <a:gd name="connsiteY5" fmla="*/ 106362 h 2590252"/>
              <a:gd name="connsiteX6" fmla="*/ 8546886 w 8620009"/>
              <a:gd name="connsiteY6" fmla="*/ 1166781 h 2590252"/>
              <a:gd name="connsiteX7" fmla="*/ 8521645 w 8620009"/>
              <a:gd name="connsiteY7" fmla="*/ 2578100 h 2590252"/>
              <a:gd name="connsiteX8" fmla="*/ 4844043 w 8620009"/>
              <a:gd name="connsiteY8" fmla="*/ 2522379 h 2590252"/>
              <a:gd name="connsiteX9" fmla="*/ 1537820 w 8620009"/>
              <a:gd name="connsiteY9" fmla="*/ 2578100 h 2590252"/>
              <a:gd name="connsiteX10" fmla="*/ 17439 w 8620009"/>
              <a:gd name="connsiteY10" fmla="*/ 2333593 h 25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20009" h="2590252">
                <a:moveTo>
                  <a:pt x="17439" y="2333593"/>
                </a:moveTo>
                <a:cubicBezTo>
                  <a:pt x="21059" y="1981168"/>
                  <a:pt x="44776" y="961993"/>
                  <a:pt x="17439" y="748062"/>
                </a:cubicBezTo>
                <a:cubicBezTo>
                  <a:pt x="-9898" y="534130"/>
                  <a:pt x="-22471" y="25400"/>
                  <a:pt x="115928" y="25400"/>
                </a:cubicBezTo>
                <a:cubicBezTo>
                  <a:pt x="254326" y="25400"/>
                  <a:pt x="2625194" y="82550"/>
                  <a:pt x="3132209" y="25400"/>
                </a:cubicBezTo>
                <a:cubicBezTo>
                  <a:pt x="3639225" y="-31750"/>
                  <a:pt x="6583784" y="25400"/>
                  <a:pt x="6822957" y="25400"/>
                </a:cubicBezTo>
                <a:cubicBezTo>
                  <a:pt x="7062129" y="25400"/>
                  <a:pt x="8544409" y="-57277"/>
                  <a:pt x="8602226" y="106362"/>
                </a:cubicBezTo>
                <a:cubicBezTo>
                  <a:pt x="8660043" y="270002"/>
                  <a:pt x="8559459" y="981424"/>
                  <a:pt x="8546886" y="1166781"/>
                </a:cubicBezTo>
                <a:cubicBezTo>
                  <a:pt x="8534313" y="1352137"/>
                  <a:pt x="8697858" y="2578100"/>
                  <a:pt x="8521645" y="2578100"/>
                </a:cubicBezTo>
                <a:cubicBezTo>
                  <a:pt x="8345433" y="2578100"/>
                  <a:pt x="5306481" y="2534952"/>
                  <a:pt x="4844043" y="2522379"/>
                </a:cubicBezTo>
                <a:cubicBezTo>
                  <a:pt x="4381604" y="2509806"/>
                  <a:pt x="2028643" y="2578100"/>
                  <a:pt x="1537820" y="2578100"/>
                </a:cubicBezTo>
                <a:cubicBezTo>
                  <a:pt x="1046997" y="2578100"/>
                  <a:pt x="14391" y="2672779"/>
                  <a:pt x="17439" y="2333593"/>
                </a:cubicBezTo>
                <a:close/>
              </a:path>
            </a:pathLst>
          </a:custGeom>
          <a:solidFill>
            <a:srgbClr val="EE1F26"/>
          </a:solidFill>
          <a:ln w="38100" cap="rnd">
            <a:solidFill>
              <a:srgbClr val="EE1F26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12" name="Grafik 31">
            <a:extLst>
              <a:ext uri="{FF2B5EF4-FFF2-40B4-BE49-F238E27FC236}">
                <a16:creationId xmlns:a16="http://schemas.microsoft.com/office/drawing/2014/main" id="{9F30980E-B171-B7B1-7AC2-8DD225B0C337}"/>
              </a:ext>
            </a:extLst>
          </p:cNvPr>
          <p:cNvSpPr>
            <a:spLocks noChangeAspect="1"/>
          </p:cNvSpPr>
          <p:nvPr/>
        </p:nvSpPr>
        <p:spPr>
          <a:xfrm flipH="1">
            <a:off x="827118" y="4753207"/>
            <a:ext cx="506457" cy="497036"/>
          </a:xfrm>
          <a:custGeom>
            <a:avLst/>
            <a:gdLst>
              <a:gd name="connsiteX0" fmla="*/ 1647029 w 1647029"/>
              <a:gd name="connsiteY0" fmla="*/ 160973 h 1616392"/>
              <a:gd name="connsiteX1" fmla="*/ 1647029 w 1647029"/>
              <a:gd name="connsiteY1" fmla="*/ 1174433 h 1616392"/>
              <a:gd name="connsiteX2" fmla="*/ 1391759 w 1647029"/>
              <a:gd name="connsiteY2" fmla="*/ 1323023 h 1616392"/>
              <a:gd name="connsiteX3" fmla="*/ 686909 w 1647029"/>
              <a:gd name="connsiteY3" fmla="*/ 1316355 h 1616392"/>
              <a:gd name="connsiteX4" fmla="*/ 49687 w 1647029"/>
              <a:gd name="connsiteY4" fmla="*/ 1584960 h 1616392"/>
              <a:gd name="connsiteX5" fmla="*/ 10634 w 1647029"/>
              <a:gd name="connsiteY5" fmla="*/ 1616393 h 1616392"/>
              <a:gd name="connsiteX6" fmla="*/ 2062 w 1647029"/>
              <a:gd name="connsiteY6" fmla="*/ 1563053 h 1616392"/>
              <a:gd name="connsiteX7" fmla="*/ 157 w 1647029"/>
              <a:gd name="connsiteY7" fmla="*/ 265748 h 1616392"/>
              <a:gd name="connsiteX8" fmla="*/ 160177 w 1647029"/>
              <a:gd name="connsiteY8" fmla="*/ 0 h 1616392"/>
              <a:gd name="connsiteX9" fmla="*/ 1476532 w 1647029"/>
              <a:gd name="connsiteY9" fmla="*/ 0 h 1616392"/>
              <a:gd name="connsiteX10" fmla="*/ 1647029 w 1647029"/>
              <a:gd name="connsiteY10" fmla="*/ 160973 h 1616392"/>
              <a:gd name="connsiteX11" fmla="*/ 911699 w 1647029"/>
              <a:gd name="connsiteY11" fmla="*/ 501015 h 1616392"/>
              <a:gd name="connsiteX12" fmla="*/ 780254 w 1647029"/>
              <a:gd name="connsiteY12" fmla="*/ 328613 h 1616392"/>
              <a:gd name="connsiteX13" fmla="*/ 727867 w 1647029"/>
              <a:gd name="connsiteY13" fmla="*/ 379095 h 1616392"/>
              <a:gd name="connsiteX14" fmla="*/ 724057 w 1647029"/>
              <a:gd name="connsiteY14" fmla="*/ 591503 h 1616392"/>
              <a:gd name="connsiteX15" fmla="*/ 800257 w 1647029"/>
              <a:gd name="connsiteY15" fmla="*/ 669608 h 1616392"/>
              <a:gd name="connsiteX16" fmla="*/ 912652 w 1647029"/>
              <a:gd name="connsiteY16" fmla="*/ 552450 h 1616392"/>
              <a:gd name="connsiteX17" fmla="*/ 911699 w 1647029"/>
              <a:gd name="connsiteY17" fmla="*/ 501015 h 1616392"/>
              <a:gd name="connsiteX18" fmla="*/ 819307 w 1647029"/>
              <a:gd name="connsiteY18" fmla="*/ 994410 h 1616392"/>
              <a:gd name="connsiteX19" fmla="*/ 914557 w 1647029"/>
              <a:gd name="connsiteY19" fmla="*/ 909638 h 1616392"/>
              <a:gd name="connsiteX20" fmla="*/ 822164 w 1647029"/>
              <a:gd name="connsiteY20" fmla="*/ 816293 h 1616392"/>
              <a:gd name="connsiteX21" fmla="*/ 723104 w 1647029"/>
              <a:gd name="connsiteY21" fmla="*/ 907733 h 1616392"/>
              <a:gd name="connsiteX22" fmla="*/ 819307 w 1647029"/>
              <a:gd name="connsiteY22" fmla="*/ 994410 h 1616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47029" h="1616392">
                <a:moveTo>
                  <a:pt x="1647029" y="160973"/>
                </a:moveTo>
                <a:cubicBezTo>
                  <a:pt x="1647029" y="499110"/>
                  <a:pt x="1647029" y="836295"/>
                  <a:pt x="1647029" y="1174433"/>
                </a:cubicBezTo>
                <a:cubicBezTo>
                  <a:pt x="1607977" y="1303973"/>
                  <a:pt x="1511774" y="1325880"/>
                  <a:pt x="1391759" y="1323023"/>
                </a:cubicBezTo>
                <a:cubicBezTo>
                  <a:pt x="1156492" y="1318260"/>
                  <a:pt x="919319" y="1340168"/>
                  <a:pt x="686909" y="1316355"/>
                </a:cubicBezTo>
                <a:cubicBezTo>
                  <a:pt x="415447" y="1288733"/>
                  <a:pt x="205897" y="1362075"/>
                  <a:pt x="49687" y="1584960"/>
                </a:cubicBezTo>
                <a:cubicBezTo>
                  <a:pt x="40162" y="1598295"/>
                  <a:pt x="23969" y="1605915"/>
                  <a:pt x="10634" y="1616393"/>
                </a:cubicBezTo>
                <a:cubicBezTo>
                  <a:pt x="7777" y="1598295"/>
                  <a:pt x="2062" y="1581150"/>
                  <a:pt x="2062" y="1563053"/>
                </a:cubicBezTo>
                <a:cubicBezTo>
                  <a:pt x="1109" y="1130618"/>
                  <a:pt x="3967" y="698183"/>
                  <a:pt x="157" y="265748"/>
                </a:cubicBezTo>
                <a:cubicBezTo>
                  <a:pt x="-1748" y="138113"/>
                  <a:pt x="11587" y="31432"/>
                  <a:pt x="160177" y="0"/>
                </a:cubicBezTo>
                <a:cubicBezTo>
                  <a:pt x="599279" y="0"/>
                  <a:pt x="1037429" y="0"/>
                  <a:pt x="1476532" y="0"/>
                </a:cubicBezTo>
                <a:cubicBezTo>
                  <a:pt x="1564162" y="20955"/>
                  <a:pt x="1624169" y="70485"/>
                  <a:pt x="1647029" y="160973"/>
                </a:cubicBezTo>
                <a:close/>
                <a:moveTo>
                  <a:pt x="911699" y="501015"/>
                </a:moveTo>
                <a:cubicBezTo>
                  <a:pt x="911699" y="324803"/>
                  <a:pt x="911699" y="322898"/>
                  <a:pt x="780254" y="328613"/>
                </a:cubicBezTo>
                <a:cubicBezTo>
                  <a:pt x="761204" y="329565"/>
                  <a:pt x="729772" y="360045"/>
                  <a:pt x="727867" y="379095"/>
                </a:cubicBezTo>
                <a:cubicBezTo>
                  <a:pt x="721199" y="449580"/>
                  <a:pt x="727867" y="521017"/>
                  <a:pt x="724057" y="591503"/>
                </a:cubicBezTo>
                <a:cubicBezTo>
                  <a:pt x="720247" y="649605"/>
                  <a:pt x="739297" y="665798"/>
                  <a:pt x="800257" y="669608"/>
                </a:cubicBezTo>
                <a:cubicBezTo>
                  <a:pt x="896459" y="677228"/>
                  <a:pt x="928844" y="643890"/>
                  <a:pt x="912652" y="552450"/>
                </a:cubicBezTo>
                <a:cubicBezTo>
                  <a:pt x="908842" y="536258"/>
                  <a:pt x="911699" y="518160"/>
                  <a:pt x="911699" y="501015"/>
                </a:cubicBezTo>
                <a:close/>
                <a:moveTo>
                  <a:pt x="819307" y="994410"/>
                </a:moveTo>
                <a:cubicBezTo>
                  <a:pt x="895507" y="1019175"/>
                  <a:pt x="914557" y="983933"/>
                  <a:pt x="914557" y="909638"/>
                </a:cubicBezTo>
                <a:cubicBezTo>
                  <a:pt x="914557" y="838200"/>
                  <a:pt x="896459" y="814388"/>
                  <a:pt x="822164" y="816293"/>
                </a:cubicBezTo>
                <a:cubicBezTo>
                  <a:pt x="753584" y="818198"/>
                  <a:pt x="719294" y="826770"/>
                  <a:pt x="723104" y="907733"/>
                </a:cubicBezTo>
                <a:cubicBezTo>
                  <a:pt x="725009" y="978218"/>
                  <a:pt x="736439" y="1019175"/>
                  <a:pt x="819307" y="9944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44FF2476-7BB1-10C9-7218-877B08BB74F8}"/>
              </a:ext>
            </a:extLst>
          </p:cNvPr>
          <p:cNvSpPr txBox="1">
            <a:spLocks/>
          </p:cNvSpPr>
          <p:nvPr/>
        </p:nvSpPr>
        <p:spPr>
          <a:xfrm>
            <a:off x="1377679" y="4777614"/>
            <a:ext cx="3611981" cy="4970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EE1F26"/>
              </a:buClr>
              <a:buNone/>
              <a:defRPr/>
            </a:pPr>
            <a:r>
              <a:rPr lang="de-DE" sz="1600" b="1">
                <a:solidFill>
                  <a:schemeClr val="bg1"/>
                </a:solidFill>
              </a:rPr>
              <a:t>468KB pro Stunde weniger</a:t>
            </a:r>
          </a:p>
        </p:txBody>
      </p:sp>
      <p:sp>
        <p:nvSpPr>
          <p:cNvPr id="14" name="Grafik 49">
            <a:extLst>
              <a:ext uri="{FF2B5EF4-FFF2-40B4-BE49-F238E27FC236}">
                <a16:creationId xmlns:a16="http://schemas.microsoft.com/office/drawing/2014/main" id="{BF734EBD-A94E-FE33-1358-58BD275AD23B}"/>
              </a:ext>
            </a:extLst>
          </p:cNvPr>
          <p:cNvSpPr/>
          <p:nvPr/>
        </p:nvSpPr>
        <p:spPr>
          <a:xfrm flipV="1">
            <a:off x="6918349" y="4673974"/>
            <a:ext cx="4423375" cy="643853"/>
          </a:xfrm>
          <a:custGeom>
            <a:avLst/>
            <a:gdLst>
              <a:gd name="connsiteX0" fmla="*/ 17439 w 8620009"/>
              <a:gd name="connsiteY0" fmla="*/ 2333593 h 2590252"/>
              <a:gd name="connsiteX1" fmla="*/ 17439 w 8620009"/>
              <a:gd name="connsiteY1" fmla="*/ 748062 h 2590252"/>
              <a:gd name="connsiteX2" fmla="*/ 115928 w 8620009"/>
              <a:gd name="connsiteY2" fmla="*/ 25400 h 2590252"/>
              <a:gd name="connsiteX3" fmla="*/ 3132209 w 8620009"/>
              <a:gd name="connsiteY3" fmla="*/ 25400 h 2590252"/>
              <a:gd name="connsiteX4" fmla="*/ 6822957 w 8620009"/>
              <a:gd name="connsiteY4" fmla="*/ 25400 h 2590252"/>
              <a:gd name="connsiteX5" fmla="*/ 8602226 w 8620009"/>
              <a:gd name="connsiteY5" fmla="*/ 106362 h 2590252"/>
              <a:gd name="connsiteX6" fmla="*/ 8546886 w 8620009"/>
              <a:gd name="connsiteY6" fmla="*/ 1166781 h 2590252"/>
              <a:gd name="connsiteX7" fmla="*/ 8521645 w 8620009"/>
              <a:gd name="connsiteY7" fmla="*/ 2578100 h 2590252"/>
              <a:gd name="connsiteX8" fmla="*/ 4844043 w 8620009"/>
              <a:gd name="connsiteY8" fmla="*/ 2522379 h 2590252"/>
              <a:gd name="connsiteX9" fmla="*/ 1537820 w 8620009"/>
              <a:gd name="connsiteY9" fmla="*/ 2578100 h 2590252"/>
              <a:gd name="connsiteX10" fmla="*/ 17439 w 8620009"/>
              <a:gd name="connsiteY10" fmla="*/ 2333593 h 25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20009" h="2590252">
                <a:moveTo>
                  <a:pt x="17439" y="2333593"/>
                </a:moveTo>
                <a:cubicBezTo>
                  <a:pt x="21059" y="1981168"/>
                  <a:pt x="44776" y="961993"/>
                  <a:pt x="17439" y="748062"/>
                </a:cubicBezTo>
                <a:cubicBezTo>
                  <a:pt x="-9898" y="534130"/>
                  <a:pt x="-22471" y="25400"/>
                  <a:pt x="115928" y="25400"/>
                </a:cubicBezTo>
                <a:cubicBezTo>
                  <a:pt x="254326" y="25400"/>
                  <a:pt x="2625194" y="82550"/>
                  <a:pt x="3132209" y="25400"/>
                </a:cubicBezTo>
                <a:cubicBezTo>
                  <a:pt x="3639225" y="-31750"/>
                  <a:pt x="6583784" y="25400"/>
                  <a:pt x="6822957" y="25400"/>
                </a:cubicBezTo>
                <a:cubicBezTo>
                  <a:pt x="7062129" y="25400"/>
                  <a:pt x="8544409" y="-57277"/>
                  <a:pt x="8602226" y="106362"/>
                </a:cubicBezTo>
                <a:cubicBezTo>
                  <a:pt x="8660043" y="270002"/>
                  <a:pt x="8559459" y="981424"/>
                  <a:pt x="8546886" y="1166781"/>
                </a:cubicBezTo>
                <a:cubicBezTo>
                  <a:pt x="8534313" y="1352137"/>
                  <a:pt x="8697858" y="2578100"/>
                  <a:pt x="8521645" y="2578100"/>
                </a:cubicBezTo>
                <a:cubicBezTo>
                  <a:pt x="8345433" y="2578100"/>
                  <a:pt x="5306481" y="2534952"/>
                  <a:pt x="4844043" y="2522379"/>
                </a:cubicBezTo>
                <a:cubicBezTo>
                  <a:pt x="4381604" y="2509806"/>
                  <a:pt x="2028643" y="2578100"/>
                  <a:pt x="1537820" y="2578100"/>
                </a:cubicBezTo>
                <a:cubicBezTo>
                  <a:pt x="1046997" y="2578100"/>
                  <a:pt x="14391" y="2672779"/>
                  <a:pt x="17439" y="2333593"/>
                </a:cubicBezTo>
                <a:close/>
              </a:path>
            </a:pathLst>
          </a:custGeom>
          <a:solidFill>
            <a:srgbClr val="EE1F26"/>
          </a:solidFill>
          <a:ln w="38100" cap="rnd">
            <a:solidFill>
              <a:srgbClr val="EE1F26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15" name="Grafik 31">
            <a:extLst>
              <a:ext uri="{FF2B5EF4-FFF2-40B4-BE49-F238E27FC236}">
                <a16:creationId xmlns:a16="http://schemas.microsoft.com/office/drawing/2014/main" id="{203E21F8-4A48-BC7D-AF05-CE341A302F52}"/>
              </a:ext>
            </a:extLst>
          </p:cNvPr>
          <p:cNvSpPr>
            <a:spLocks noChangeAspect="1"/>
          </p:cNvSpPr>
          <p:nvPr/>
        </p:nvSpPr>
        <p:spPr>
          <a:xfrm flipH="1">
            <a:off x="7070632" y="4753207"/>
            <a:ext cx="506457" cy="497036"/>
          </a:xfrm>
          <a:custGeom>
            <a:avLst/>
            <a:gdLst>
              <a:gd name="connsiteX0" fmla="*/ 1647029 w 1647029"/>
              <a:gd name="connsiteY0" fmla="*/ 160973 h 1616392"/>
              <a:gd name="connsiteX1" fmla="*/ 1647029 w 1647029"/>
              <a:gd name="connsiteY1" fmla="*/ 1174433 h 1616392"/>
              <a:gd name="connsiteX2" fmla="*/ 1391759 w 1647029"/>
              <a:gd name="connsiteY2" fmla="*/ 1323023 h 1616392"/>
              <a:gd name="connsiteX3" fmla="*/ 686909 w 1647029"/>
              <a:gd name="connsiteY3" fmla="*/ 1316355 h 1616392"/>
              <a:gd name="connsiteX4" fmla="*/ 49687 w 1647029"/>
              <a:gd name="connsiteY4" fmla="*/ 1584960 h 1616392"/>
              <a:gd name="connsiteX5" fmla="*/ 10634 w 1647029"/>
              <a:gd name="connsiteY5" fmla="*/ 1616393 h 1616392"/>
              <a:gd name="connsiteX6" fmla="*/ 2062 w 1647029"/>
              <a:gd name="connsiteY6" fmla="*/ 1563053 h 1616392"/>
              <a:gd name="connsiteX7" fmla="*/ 157 w 1647029"/>
              <a:gd name="connsiteY7" fmla="*/ 265748 h 1616392"/>
              <a:gd name="connsiteX8" fmla="*/ 160177 w 1647029"/>
              <a:gd name="connsiteY8" fmla="*/ 0 h 1616392"/>
              <a:gd name="connsiteX9" fmla="*/ 1476532 w 1647029"/>
              <a:gd name="connsiteY9" fmla="*/ 0 h 1616392"/>
              <a:gd name="connsiteX10" fmla="*/ 1647029 w 1647029"/>
              <a:gd name="connsiteY10" fmla="*/ 160973 h 1616392"/>
              <a:gd name="connsiteX11" fmla="*/ 911699 w 1647029"/>
              <a:gd name="connsiteY11" fmla="*/ 501015 h 1616392"/>
              <a:gd name="connsiteX12" fmla="*/ 780254 w 1647029"/>
              <a:gd name="connsiteY12" fmla="*/ 328613 h 1616392"/>
              <a:gd name="connsiteX13" fmla="*/ 727867 w 1647029"/>
              <a:gd name="connsiteY13" fmla="*/ 379095 h 1616392"/>
              <a:gd name="connsiteX14" fmla="*/ 724057 w 1647029"/>
              <a:gd name="connsiteY14" fmla="*/ 591503 h 1616392"/>
              <a:gd name="connsiteX15" fmla="*/ 800257 w 1647029"/>
              <a:gd name="connsiteY15" fmla="*/ 669608 h 1616392"/>
              <a:gd name="connsiteX16" fmla="*/ 912652 w 1647029"/>
              <a:gd name="connsiteY16" fmla="*/ 552450 h 1616392"/>
              <a:gd name="connsiteX17" fmla="*/ 911699 w 1647029"/>
              <a:gd name="connsiteY17" fmla="*/ 501015 h 1616392"/>
              <a:gd name="connsiteX18" fmla="*/ 819307 w 1647029"/>
              <a:gd name="connsiteY18" fmla="*/ 994410 h 1616392"/>
              <a:gd name="connsiteX19" fmla="*/ 914557 w 1647029"/>
              <a:gd name="connsiteY19" fmla="*/ 909638 h 1616392"/>
              <a:gd name="connsiteX20" fmla="*/ 822164 w 1647029"/>
              <a:gd name="connsiteY20" fmla="*/ 816293 h 1616392"/>
              <a:gd name="connsiteX21" fmla="*/ 723104 w 1647029"/>
              <a:gd name="connsiteY21" fmla="*/ 907733 h 1616392"/>
              <a:gd name="connsiteX22" fmla="*/ 819307 w 1647029"/>
              <a:gd name="connsiteY22" fmla="*/ 994410 h 1616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47029" h="1616392">
                <a:moveTo>
                  <a:pt x="1647029" y="160973"/>
                </a:moveTo>
                <a:cubicBezTo>
                  <a:pt x="1647029" y="499110"/>
                  <a:pt x="1647029" y="836295"/>
                  <a:pt x="1647029" y="1174433"/>
                </a:cubicBezTo>
                <a:cubicBezTo>
                  <a:pt x="1607977" y="1303973"/>
                  <a:pt x="1511774" y="1325880"/>
                  <a:pt x="1391759" y="1323023"/>
                </a:cubicBezTo>
                <a:cubicBezTo>
                  <a:pt x="1156492" y="1318260"/>
                  <a:pt x="919319" y="1340168"/>
                  <a:pt x="686909" y="1316355"/>
                </a:cubicBezTo>
                <a:cubicBezTo>
                  <a:pt x="415447" y="1288733"/>
                  <a:pt x="205897" y="1362075"/>
                  <a:pt x="49687" y="1584960"/>
                </a:cubicBezTo>
                <a:cubicBezTo>
                  <a:pt x="40162" y="1598295"/>
                  <a:pt x="23969" y="1605915"/>
                  <a:pt x="10634" y="1616393"/>
                </a:cubicBezTo>
                <a:cubicBezTo>
                  <a:pt x="7777" y="1598295"/>
                  <a:pt x="2062" y="1581150"/>
                  <a:pt x="2062" y="1563053"/>
                </a:cubicBezTo>
                <a:cubicBezTo>
                  <a:pt x="1109" y="1130618"/>
                  <a:pt x="3967" y="698183"/>
                  <a:pt x="157" y="265748"/>
                </a:cubicBezTo>
                <a:cubicBezTo>
                  <a:pt x="-1748" y="138113"/>
                  <a:pt x="11587" y="31432"/>
                  <a:pt x="160177" y="0"/>
                </a:cubicBezTo>
                <a:cubicBezTo>
                  <a:pt x="599279" y="0"/>
                  <a:pt x="1037429" y="0"/>
                  <a:pt x="1476532" y="0"/>
                </a:cubicBezTo>
                <a:cubicBezTo>
                  <a:pt x="1564162" y="20955"/>
                  <a:pt x="1624169" y="70485"/>
                  <a:pt x="1647029" y="160973"/>
                </a:cubicBezTo>
                <a:close/>
                <a:moveTo>
                  <a:pt x="911699" y="501015"/>
                </a:moveTo>
                <a:cubicBezTo>
                  <a:pt x="911699" y="324803"/>
                  <a:pt x="911699" y="322898"/>
                  <a:pt x="780254" y="328613"/>
                </a:cubicBezTo>
                <a:cubicBezTo>
                  <a:pt x="761204" y="329565"/>
                  <a:pt x="729772" y="360045"/>
                  <a:pt x="727867" y="379095"/>
                </a:cubicBezTo>
                <a:cubicBezTo>
                  <a:pt x="721199" y="449580"/>
                  <a:pt x="727867" y="521017"/>
                  <a:pt x="724057" y="591503"/>
                </a:cubicBezTo>
                <a:cubicBezTo>
                  <a:pt x="720247" y="649605"/>
                  <a:pt x="739297" y="665798"/>
                  <a:pt x="800257" y="669608"/>
                </a:cubicBezTo>
                <a:cubicBezTo>
                  <a:pt x="896459" y="677228"/>
                  <a:pt x="928844" y="643890"/>
                  <a:pt x="912652" y="552450"/>
                </a:cubicBezTo>
                <a:cubicBezTo>
                  <a:pt x="908842" y="536258"/>
                  <a:pt x="911699" y="518160"/>
                  <a:pt x="911699" y="501015"/>
                </a:cubicBezTo>
                <a:close/>
                <a:moveTo>
                  <a:pt x="819307" y="994410"/>
                </a:moveTo>
                <a:cubicBezTo>
                  <a:pt x="895507" y="1019175"/>
                  <a:pt x="914557" y="983933"/>
                  <a:pt x="914557" y="909638"/>
                </a:cubicBezTo>
                <a:cubicBezTo>
                  <a:pt x="914557" y="838200"/>
                  <a:pt x="896459" y="814388"/>
                  <a:pt x="822164" y="816293"/>
                </a:cubicBezTo>
                <a:cubicBezTo>
                  <a:pt x="753584" y="818198"/>
                  <a:pt x="719294" y="826770"/>
                  <a:pt x="723104" y="907733"/>
                </a:cubicBezTo>
                <a:cubicBezTo>
                  <a:pt x="725009" y="978218"/>
                  <a:pt x="736439" y="1019175"/>
                  <a:pt x="819307" y="994410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2C2F33"/>
              </a:solidFill>
              <a:effectLst/>
              <a:uLnTx/>
              <a:uFillTx/>
              <a:latin typeface="Taz"/>
            </a:endParaRPr>
          </a:p>
        </p:txBody>
      </p:sp>
      <p:sp>
        <p:nvSpPr>
          <p:cNvPr id="16" name="Inhaltsplatzhalter 7">
            <a:extLst>
              <a:ext uri="{FF2B5EF4-FFF2-40B4-BE49-F238E27FC236}">
                <a16:creationId xmlns:a16="http://schemas.microsoft.com/office/drawing/2014/main" id="{4267A5B5-85D2-B66E-DA54-6F2C02987D09}"/>
              </a:ext>
            </a:extLst>
          </p:cNvPr>
          <p:cNvSpPr txBox="1">
            <a:spLocks/>
          </p:cNvSpPr>
          <p:nvPr/>
        </p:nvSpPr>
        <p:spPr>
          <a:xfrm>
            <a:off x="7621193" y="4777614"/>
            <a:ext cx="3611981" cy="4970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EE1F26"/>
              </a:buClr>
              <a:buNone/>
              <a:defRPr/>
            </a:pPr>
            <a:r>
              <a:rPr lang="de-DE" sz="1600" b="1">
                <a:solidFill>
                  <a:schemeClr val="bg1"/>
                </a:solidFill>
              </a:rPr>
              <a:t>11,232MB pro Tag wenige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D15845B-7610-E4F2-20B4-E696B6A22FC6}"/>
              </a:ext>
            </a:extLst>
          </p:cNvPr>
          <p:cNvSpPr txBox="1"/>
          <p:nvPr/>
        </p:nvSpPr>
        <p:spPr>
          <a:xfrm>
            <a:off x="674835" y="5667153"/>
            <a:ext cx="106737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Die Zahlen beziehen sich auch eine Maximale Auslastung der Kasse. Aufgrund unterschiedlicher Auslastung und </a:t>
            </a:r>
          </a:p>
          <a:p>
            <a:r>
              <a:rPr lang="de-DE"/>
              <a:t>Software entstehen hierbei jedoch Unterschiede.</a:t>
            </a:r>
          </a:p>
        </p:txBody>
      </p:sp>
    </p:spTree>
    <p:extLst>
      <p:ext uri="{BB962C8B-B14F-4D97-AF65-F5344CB8AC3E}">
        <p14:creationId xmlns:p14="http://schemas.microsoft.com/office/powerpoint/2010/main" val="30316252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  <p:sp>
        <p:nvSpPr>
          <p:cNvPr id="20" name="Rechteck: eine Ecke abgeschnitten 15">
            <a:extLst>
              <a:ext uri="{FF2B5EF4-FFF2-40B4-BE49-F238E27FC236}">
                <a16:creationId xmlns:a16="http://schemas.microsoft.com/office/drawing/2014/main" id="{11005577-6C59-A708-DAF1-96CA3C08422C}"/>
              </a:ext>
            </a:extLst>
          </p:cNvPr>
          <p:cNvSpPr/>
          <p:nvPr/>
        </p:nvSpPr>
        <p:spPr>
          <a:xfrm flipH="1">
            <a:off x="337238" y="2147387"/>
            <a:ext cx="10778068" cy="737552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Die Auswertung der Dateien wird schneller</a:t>
            </a:r>
          </a:p>
        </p:txBody>
      </p:sp>
      <p:sp>
        <p:nvSpPr>
          <p:cNvPr id="27" name="Rechteck: eine Ecke abgeschnitten 15">
            <a:extLst>
              <a:ext uri="{FF2B5EF4-FFF2-40B4-BE49-F238E27FC236}">
                <a16:creationId xmlns:a16="http://schemas.microsoft.com/office/drawing/2014/main" id="{9AE0CB40-F812-9739-D5EC-F5AD8E983F32}"/>
              </a:ext>
            </a:extLst>
          </p:cNvPr>
          <p:cNvSpPr/>
          <p:nvPr/>
        </p:nvSpPr>
        <p:spPr>
          <a:xfrm flipH="1">
            <a:off x="337236" y="3452365"/>
            <a:ext cx="10778066" cy="731307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Logfiles werden kleiner und für Editoren einfach zu händeln</a:t>
            </a:r>
          </a:p>
        </p:txBody>
      </p:sp>
      <p:sp>
        <p:nvSpPr>
          <p:cNvPr id="30" name="Rechteck: eine Ecke abgeschnitten 15">
            <a:extLst>
              <a:ext uri="{FF2B5EF4-FFF2-40B4-BE49-F238E27FC236}">
                <a16:creationId xmlns:a16="http://schemas.microsoft.com/office/drawing/2014/main" id="{5E208979-FD92-4AFE-BAEF-0DEB8CB9BDCD}"/>
              </a:ext>
            </a:extLst>
          </p:cNvPr>
          <p:cNvSpPr/>
          <p:nvPr/>
        </p:nvSpPr>
        <p:spPr>
          <a:xfrm flipH="1">
            <a:off x="337236" y="4685439"/>
            <a:ext cx="10778066" cy="731307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Die Datei wird übersichtlicher</a:t>
            </a:r>
          </a:p>
        </p:txBody>
      </p:sp>
      <p:sp>
        <p:nvSpPr>
          <p:cNvPr id="31" name="Rechteck: eine Ecke abgeschnitten 15">
            <a:extLst>
              <a:ext uri="{FF2B5EF4-FFF2-40B4-BE49-F238E27FC236}">
                <a16:creationId xmlns:a16="http://schemas.microsoft.com/office/drawing/2014/main" id="{8FCD0954-D50E-9F79-8C1D-D977B5EA38A1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B62D3AC-5496-6CFA-16F7-71482E9F4672}"/>
              </a:ext>
            </a:extLst>
          </p:cNvPr>
          <p:cNvSpPr txBox="1"/>
          <p:nvPr/>
        </p:nvSpPr>
        <p:spPr>
          <a:xfrm>
            <a:off x="337236" y="1202235"/>
            <a:ext cx="949447" cy="523220"/>
          </a:xfrm>
          <a:prstGeom prst="rect">
            <a:avLst/>
          </a:prstGeom>
          <a:solidFill>
            <a:schemeClr val="accent6"/>
          </a:solidFill>
        </p:spPr>
        <p:txBody>
          <a:bodyPr wrap="none" lIns="90000" rtlCol="0">
            <a:spAutoFit/>
          </a:bodyPr>
          <a:lstStyle/>
          <a:p>
            <a:r>
              <a:rPr lang="de-DE" sz="2800">
                <a:solidFill>
                  <a:schemeClr val="bg1"/>
                </a:solidFill>
              </a:rPr>
              <a:t>Fazit:</a:t>
            </a:r>
          </a:p>
        </p:txBody>
      </p:sp>
    </p:spTree>
    <p:extLst>
      <p:ext uri="{BB962C8B-B14F-4D97-AF65-F5344CB8AC3E}">
        <p14:creationId xmlns:p14="http://schemas.microsoft.com/office/powerpoint/2010/main" val="453887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: eine Ecke abgeschnitten 15">
            <a:extLst>
              <a:ext uri="{FF2B5EF4-FFF2-40B4-BE49-F238E27FC236}">
                <a16:creationId xmlns:a16="http://schemas.microsoft.com/office/drawing/2014/main" id="{68172B28-A930-49A7-ACC5-5D72C338BDC6}"/>
              </a:ext>
            </a:extLst>
          </p:cNvPr>
          <p:cNvSpPr/>
          <p:nvPr/>
        </p:nvSpPr>
        <p:spPr>
          <a:xfrm flipH="1">
            <a:off x="1868986" y="180879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Reduzieren von Logfiles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F272F1C-1B42-40EB-B8DF-ED10D94D3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Die Wichtigsten Funktionen im Überblick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90BE39F-C283-4734-B9C1-F2AE5E344E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086" y="257747"/>
            <a:ext cx="1730154" cy="258532"/>
          </a:xfrm>
        </p:spPr>
        <p:txBody>
          <a:bodyPr/>
          <a:lstStyle/>
          <a:p>
            <a:r>
              <a:rPr lang="de-DE"/>
              <a:t>Die Funktionen von PL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8B88CF-B246-32FC-BFA1-73F3E2A728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23" y="242161"/>
            <a:ext cx="285740" cy="283835"/>
          </a:xfrm>
          <a:prstGeom prst="rect">
            <a:avLst/>
          </a:prstGeom>
        </p:spPr>
      </p:pic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8200191A-4336-06EE-829F-9E2A5165EB56}"/>
              </a:ext>
            </a:extLst>
          </p:cNvPr>
          <p:cNvSpPr/>
          <p:nvPr/>
        </p:nvSpPr>
        <p:spPr>
          <a:xfrm flipH="1">
            <a:off x="1868986" y="323712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Allgemeine Strukturfunktionen</a:t>
            </a:r>
          </a:p>
        </p:txBody>
      </p:sp>
      <p:sp>
        <p:nvSpPr>
          <p:cNvPr id="6" name="Rechteck: eine Ecke abgeschnitten 15">
            <a:extLst>
              <a:ext uri="{FF2B5EF4-FFF2-40B4-BE49-F238E27FC236}">
                <a16:creationId xmlns:a16="http://schemas.microsoft.com/office/drawing/2014/main" id="{26759059-6967-DDD5-63BC-0C76F25F2473}"/>
              </a:ext>
            </a:extLst>
          </p:cNvPr>
          <p:cNvSpPr/>
          <p:nvPr/>
        </p:nvSpPr>
        <p:spPr>
          <a:xfrm flipH="1">
            <a:off x="1868986" y="4743131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Importieren von Logfi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6A03833-F556-BBF2-19EA-05CE8E16D6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1744967"/>
            <a:ext cx="1043617" cy="103666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808AB19-F603-5C46-D741-923EA4E331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3193263"/>
            <a:ext cx="1043617" cy="1036660"/>
          </a:xfrm>
          <a:prstGeom prst="rect">
            <a:avLst/>
          </a:prstGeom>
        </p:spPr>
      </p:pic>
      <p:pic>
        <p:nvPicPr>
          <p:cNvPr id="9" name="Grafik 8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846D1CD2-8587-FE44-5A7B-CD39D234F4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19" y="4679383"/>
            <a:ext cx="1043617" cy="103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8453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289B9C41-EADA-2CEF-90DC-4A3807C5B62D}"/>
              </a:ext>
            </a:extLst>
          </p:cNvPr>
          <p:cNvSpPr/>
          <p:nvPr/>
        </p:nvSpPr>
        <p:spPr>
          <a:xfrm flipH="1">
            <a:off x="827586" y="206984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Allgemeine Strukturfunktion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54863CE-F15E-B681-1A5F-57A6F62928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04" y="206984"/>
            <a:ext cx="533828" cy="530269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6F86855-4743-B32E-D47C-DB75F7F7ABF8}"/>
              </a:ext>
            </a:extLst>
          </p:cNvPr>
          <p:cNvSpPr txBox="1"/>
          <p:nvPr/>
        </p:nvSpPr>
        <p:spPr>
          <a:xfrm>
            <a:off x="210704" y="938153"/>
            <a:ext cx="116883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Aufgrund der „Archive“, die dadurch entstehen können, sind verwaltende Funktionen notwendig, die den Umgang mit dem entstandenen Logfiles einfacher machen.</a:t>
            </a:r>
          </a:p>
        </p:txBody>
      </p:sp>
      <p:sp>
        <p:nvSpPr>
          <p:cNvPr id="19" name="Rechteck: eine Ecke abgeschnitten 15">
            <a:extLst>
              <a:ext uri="{FF2B5EF4-FFF2-40B4-BE49-F238E27FC236}">
                <a16:creationId xmlns:a16="http://schemas.microsoft.com/office/drawing/2014/main" id="{6C2093F9-3FBC-B085-BE90-ECF009F8F96A}"/>
              </a:ext>
            </a:extLst>
          </p:cNvPr>
          <p:cNvSpPr/>
          <p:nvPr/>
        </p:nvSpPr>
        <p:spPr>
          <a:xfrm flipH="1">
            <a:off x="293831" y="2070053"/>
            <a:ext cx="11225234" cy="732524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1600">
                <a:solidFill>
                  <a:srgbClr val="000000"/>
                </a:solidFill>
              </a:rPr>
              <a:t>Da von mehreren Kassen Zip-Dateien vorhanden sein können und man diese nicht alle einzeln antippen will, ist es möglich den Ordner anzugeben, in dem diese liegen, und das Tool übernimmt den Rest.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A88DA5A-B06F-BC15-ACB1-2F9C5BB02476}"/>
              </a:ext>
            </a:extLst>
          </p:cNvPr>
          <p:cNvSpPr txBox="1"/>
          <p:nvPr/>
        </p:nvSpPr>
        <p:spPr>
          <a:xfrm>
            <a:off x="376959" y="1798597"/>
            <a:ext cx="2240122" cy="369332"/>
          </a:xfrm>
          <a:prstGeom prst="rect">
            <a:avLst/>
          </a:prstGeom>
          <a:solidFill>
            <a:schemeClr val="accent6"/>
          </a:solidFill>
        </p:spPr>
        <p:txBody>
          <a:bodyPr wrap="none" lIns="90000" rtlCol="0">
            <a:spAutoFit/>
          </a:bodyPr>
          <a:lstStyle/>
          <a:p>
            <a:r>
              <a:rPr lang="de-DE" err="1">
                <a:solidFill>
                  <a:schemeClr val="bg1"/>
                </a:solidFill>
              </a:rPr>
              <a:t>Entzippen</a:t>
            </a:r>
            <a:r>
              <a:rPr lang="de-DE">
                <a:solidFill>
                  <a:schemeClr val="bg1"/>
                </a:solidFill>
              </a:rPr>
              <a:t> der Archive</a:t>
            </a:r>
          </a:p>
        </p:txBody>
      </p:sp>
      <p:sp>
        <p:nvSpPr>
          <p:cNvPr id="20" name="Rechteck: eine Ecke abgeschnitten 15">
            <a:extLst>
              <a:ext uri="{FF2B5EF4-FFF2-40B4-BE49-F238E27FC236}">
                <a16:creationId xmlns:a16="http://schemas.microsoft.com/office/drawing/2014/main" id="{9ACDCBA1-0590-9483-8C35-244E3BAC274E}"/>
              </a:ext>
            </a:extLst>
          </p:cNvPr>
          <p:cNvSpPr/>
          <p:nvPr/>
        </p:nvSpPr>
        <p:spPr>
          <a:xfrm flipH="1">
            <a:off x="293831" y="3291811"/>
            <a:ext cx="11225234" cy="732524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1600">
                <a:solidFill>
                  <a:srgbClr val="000000"/>
                </a:solidFill>
              </a:rPr>
              <a:t>Der Name der Logdatei hat nun den </a:t>
            </a:r>
            <a:r>
              <a:rPr lang="de-DE" sz="1600" err="1">
                <a:solidFill>
                  <a:srgbClr val="000000"/>
                </a:solidFill>
              </a:rPr>
              <a:t>Timestamp</a:t>
            </a:r>
            <a:r>
              <a:rPr lang="de-DE" sz="1600">
                <a:solidFill>
                  <a:srgbClr val="000000"/>
                </a:solidFill>
              </a:rPr>
              <a:t> des Zip-Datums hinten dran. Eine weitere Funktion verändert diesen, sodass er teil des Datei-namens wird.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7EDE08F-FDA9-1760-978F-DC82219E08A8}"/>
              </a:ext>
            </a:extLst>
          </p:cNvPr>
          <p:cNvSpPr txBox="1"/>
          <p:nvPr/>
        </p:nvSpPr>
        <p:spPr>
          <a:xfrm>
            <a:off x="376959" y="3020355"/>
            <a:ext cx="1470424" cy="369332"/>
          </a:xfrm>
          <a:prstGeom prst="rect">
            <a:avLst/>
          </a:prstGeom>
          <a:solidFill>
            <a:schemeClr val="accent6"/>
          </a:solidFill>
        </p:spPr>
        <p:txBody>
          <a:bodyPr wrap="none" lIns="90000" rtlCol="0">
            <a:spAutoFit/>
          </a:bodyPr>
          <a:lstStyle/>
          <a:p>
            <a:r>
              <a:rPr lang="de-DE">
                <a:solidFill>
                  <a:schemeClr val="bg1"/>
                </a:solidFill>
              </a:rPr>
              <a:t>Umbenennen</a:t>
            </a:r>
          </a:p>
        </p:txBody>
      </p:sp>
      <p:sp>
        <p:nvSpPr>
          <p:cNvPr id="22" name="Rechteck: eine Ecke abgeschnitten 15">
            <a:extLst>
              <a:ext uri="{FF2B5EF4-FFF2-40B4-BE49-F238E27FC236}">
                <a16:creationId xmlns:a16="http://schemas.microsoft.com/office/drawing/2014/main" id="{89972F95-0A94-9DA4-50F5-C73C3CA76D67}"/>
              </a:ext>
            </a:extLst>
          </p:cNvPr>
          <p:cNvSpPr/>
          <p:nvPr/>
        </p:nvSpPr>
        <p:spPr>
          <a:xfrm flipH="1">
            <a:off x="293831" y="4531625"/>
            <a:ext cx="11225234" cy="732524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1600">
                <a:solidFill>
                  <a:srgbClr val="000000"/>
                </a:solidFill>
              </a:rPr>
              <a:t>Sind die Dateien entpackt, besteht keine Notwendigkeit mehr für die Zip-Archive. Eine weitere Funktion kümmert sich darum, dass diese aus dem angegebenen Ordner entfernt werden. Das gleiche ist möglich, für die nicht reduzierten Logfiles.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A2FCB80-308B-46B8-2B69-AD467D5772D2}"/>
              </a:ext>
            </a:extLst>
          </p:cNvPr>
          <p:cNvSpPr txBox="1"/>
          <p:nvPr/>
        </p:nvSpPr>
        <p:spPr>
          <a:xfrm>
            <a:off x="376959" y="4260169"/>
            <a:ext cx="4263047" cy="369332"/>
          </a:xfrm>
          <a:prstGeom prst="rect">
            <a:avLst/>
          </a:prstGeom>
          <a:solidFill>
            <a:schemeClr val="accent6"/>
          </a:solidFill>
        </p:spPr>
        <p:txBody>
          <a:bodyPr wrap="none" lIns="90000" rtlCol="0">
            <a:spAutoFit/>
          </a:bodyPr>
          <a:lstStyle/>
          <a:p>
            <a:r>
              <a:rPr lang="de-DE">
                <a:solidFill>
                  <a:schemeClr val="bg1"/>
                </a:solidFill>
              </a:rPr>
              <a:t>Löschen der Zipdateien / originalen Logfiles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769D2D3-F126-98DC-CA24-A8EACC566E99}"/>
              </a:ext>
            </a:extLst>
          </p:cNvPr>
          <p:cNvSpPr txBox="1"/>
          <p:nvPr/>
        </p:nvSpPr>
        <p:spPr>
          <a:xfrm>
            <a:off x="210704" y="5535605"/>
            <a:ext cx="116883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Alle Funktionen arbeiten rekursiv, sodass von derartigen Änderungen auch in den Ordnern enthaltene Ordner betroffen sind. </a:t>
            </a:r>
          </a:p>
        </p:txBody>
      </p:sp>
    </p:spTree>
    <p:extLst>
      <p:ext uri="{BB962C8B-B14F-4D97-AF65-F5344CB8AC3E}">
        <p14:creationId xmlns:p14="http://schemas.microsoft.com/office/powerpoint/2010/main" val="19882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: eine Ecke abgeschnitten 15">
            <a:extLst>
              <a:ext uri="{FF2B5EF4-FFF2-40B4-BE49-F238E27FC236}">
                <a16:creationId xmlns:a16="http://schemas.microsoft.com/office/drawing/2014/main" id="{68172B28-A930-49A7-ACC5-5D72C338BDC6}"/>
              </a:ext>
            </a:extLst>
          </p:cNvPr>
          <p:cNvSpPr/>
          <p:nvPr/>
        </p:nvSpPr>
        <p:spPr>
          <a:xfrm flipH="1">
            <a:off x="1868986" y="180879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Reduzieren von Logfiles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F272F1C-1B42-40EB-B8DF-ED10D94D3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Die Wichtigsten Funktionen im Überblick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90BE39F-C283-4734-B9C1-F2AE5E344E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086" y="257747"/>
            <a:ext cx="1730154" cy="258532"/>
          </a:xfrm>
        </p:spPr>
        <p:txBody>
          <a:bodyPr/>
          <a:lstStyle/>
          <a:p>
            <a:r>
              <a:rPr lang="de-DE"/>
              <a:t>Die Funktionen von PL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8B88CF-B246-32FC-BFA1-73F3E2A728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23" y="242161"/>
            <a:ext cx="285740" cy="283835"/>
          </a:xfrm>
          <a:prstGeom prst="rect">
            <a:avLst/>
          </a:prstGeom>
        </p:spPr>
      </p:pic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8200191A-4336-06EE-829F-9E2A5165EB56}"/>
              </a:ext>
            </a:extLst>
          </p:cNvPr>
          <p:cNvSpPr/>
          <p:nvPr/>
        </p:nvSpPr>
        <p:spPr>
          <a:xfrm flipH="1">
            <a:off x="1868986" y="323712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Allgemeine Strukturfunktionen</a:t>
            </a:r>
          </a:p>
        </p:txBody>
      </p:sp>
      <p:sp>
        <p:nvSpPr>
          <p:cNvPr id="6" name="Rechteck: eine Ecke abgeschnitten 15">
            <a:extLst>
              <a:ext uri="{FF2B5EF4-FFF2-40B4-BE49-F238E27FC236}">
                <a16:creationId xmlns:a16="http://schemas.microsoft.com/office/drawing/2014/main" id="{26759059-6967-DDD5-63BC-0C76F25F2473}"/>
              </a:ext>
            </a:extLst>
          </p:cNvPr>
          <p:cNvSpPr/>
          <p:nvPr/>
        </p:nvSpPr>
        <p:spPr>
          <a:xfrm flipH="1">
            <a:off x="1868986" y="4743131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Importieren von Logfi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6A03833-F556-BBF2-19EA-05CE8E16D6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1744967"/>
            <a:ext cx="1043617" cy="103666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808AB19-F603-5C46-D741-923EA4E331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3193263"/>
            <a:ext cx="1043617" cy="1036660"/>
          </a:xfrm>
          <a:prstGeom prst="rect">
            <a:avLst/>
          </a:prstGeom>
        </p:spPr>
      </p:pic>
      <p:pic>
        <p:nvPicPr>
          <p:cNvPr id="9" name="Grafik 8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846D1CD2-8587-FE44-5A7B-CD39D234F4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19" y="4679383"/>
            <a:ext cx="1043617" cy="103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246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289B9C41-EADA-2CEF-90DC-4A3807C5B62D}"/>
              </a:ext>
            </a:extLst>
          </p:cNvPr>
          <p:cNvSpPr/>
          <p:nvPr/>
        </p:nvSpPr>
        <p:spPr>
          <a:xfrm flipH="1">
            <a:off x="827586" y="206984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Importieren von Logfi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357FF35-EBBD-05CB-2457-B1F1433C94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04" y="1691342"/>
            <a:ext cx="11811445" cy="100274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AE8DA35-1AB8-3136-D52C-58D8782B43B9}"/>
              </a:ext>
            </a:extLst>
          </p:cNvPr>
          <p:cNvSpPr txBox="1"/>
          <p:nvPr/>
        </p:nvSpPr>
        <p:spPr>
          <a:xfrm>
            <a:off x="210704" y="1181100"/>
            <a:ext cx="4890634" cy="369332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</a:rPr>
              <a:t>Aktueller Befehl, für das öffnen der Kassendateien</a:t>
            </a:r>
          </a:p>
        </p:txBody>
      </p:sp>
      <p:sp>
        <p:nvSpPr>
          <p:cNvPr id="3" name="Rechteck: eine Ecke abgeschnitten 25">
            <a:extLst>
              <a:ext uri="{FF2B5EF4-FFF2-40B4-BE49-F238E27FC236}">
                <a16:creationId xmlns:a16="http://schemas.microsoft.com/office/drawing/2014/main" id="{7F74ADB3-0D30-824E-F04F-2ABC8885837C}"/>
              </a:ext>
            </a:extLst>
          </p:cNvPr>
          <p:cNvSpPr/>
          <p:nvPr/>
        </p:nvSpPr>
        <p:spPr>
          <a:xfrm flipH="1">
            <a:off x="210704" y="3094141"/>
            <a:ext cx="3865547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umständlich</a:t>
            </a:r>
          </a:p>
        </p:txBody>
      </p:sp>
      <p:sp>
        <p:nvSpPr>
          <p:cNvPr id="5" name="Rechteck: eine Ecke abgeschnitten 25">
            <a:extLst>
              <a:ext uri="{FF2B5EF4-FFF2-40B4-BE49-F238E27FC236}">
                <a16:creationId xmlns:a16="http://schemas.microsoft.com/office/drawing/2014/main" id="{5EB6F7EA-1B2D-CA17-75AE-CF59FD1AD92E}"/>
              </a:ext>
            </a:extLst>
          </p:cNvPr>
          <p:cNvSpPr/>
          <p:nvPr/>
        </p:nvSpPr>
        <p:spPr>
          <a:xfrm flipH="1">
            <a:off x="210704" y="4076499"/>
            <a:ext cx="3865547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Fehleranfällig</a:t>
            </a:r>
          </a:p>
        </p:txBody>
      </p:sp>
      <p:sp>
        <p:nvSpPr>
          <p:cNvPr id="6" name="Rechteck: eine Ecke abgeschnitten 25">
            <a:extLst>
              <a:ext uri="{FF2B5EF4-FFF2-40B4-BE49-F238E27FC236}">
                <a16:creationId xmlns:a16="http://schemas.microsoft.com/office/drawing/2014/main" id="{6758DA43-FBB7-51A0-FB2E-CDDA3D324D5F}"/>
              </a:ext>
            </a:extLst>
          </p:cNvPr>
          <p:cNvSpPr/>
          <p:nvPr/>
        </p:nvSpPr>
        <p:spPr>
          <a:xfrm flipH="1">
            <a:off x="210704" y="5058857"/>
            <a:ext cx="3865546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Verbindungen werden meistens nicht wieder geschlossen</a:t>
            </a:r>
          </a:p>
        </p:txBody>
      </p:sp>
      <p:sp>
        <p:nvSpPr>
          <p:cNvPr id="8" name="Rechteck: eine Ecke abgeschnitten 25">
            <a:extLst>
              <a:ext uri="{FF2B5EF4-FFF2-40B4-BE49-F238E27FC236}">
                <a16:creationId xmlns:a16="http://schemas.microsoft.com/office/drawing/2014/main" id="{AD384E7C-8C08-D7F8-2641-FBF63C2873D7}"/>
              </a:ext>
            </a:extLst>
          </p:cNvPr>
          <p:cNvSpPr/>
          <p:nvPr/>
        </p:nvSpPr>
        <p:spPr>
          <a:xfrm flipH="1">
            <a:off x="7279542" y="3137937"/>
            <a:ext cx="4701764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Verleitet dazu den Befehl mit Benutzername und Passwort aufzuschreiben damit es schneller geht</a:t>
            </a:r>
          </a:p>
        </p:txBody>
      </p:sp>
      <p:sp>
        <p:nvSpPr>
          <p:cNvPr id="9" name="Rechteck: eine Ecke abgeschnitten 25">
            <a:extLst>
              <a:ext uri="{FF2B5EF4-FFF2-40B4-BE49-F238E27FC236}">
                <a16:creationId xmlns:a16="http://schemas.microsoft.com/office/drawing/2014/main" id="{4AF251A3-442C-4419-1D99-26A4A41C189E}"/>
              </a:ext>
            </a:extLst>
          </p:cNvPr>
          <p:cNvSpPr/>
          <p:nvPr/>
        </p:nvSpPr>
        <p:spPr>
          <a:xfrm flipH="1">
            <a:off x="7279542" y="4120295"/>
            <a:ext cx="4701764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Änderungen müssen an mehreren Stellen gemacht werden weshalb der Befehl fehl schlagen kann</a:t>
            </a:r>
          </a:p>
        </p:txBody>
      </p:sp>
      <p:sp>
        <p:nvSpPr>
          <p:cNvPr id="10" name="Rechteck: eine Ecke abgeschnitten 25">
            <a:extLst>
              <a:ext uri="{FF2B5EF4-FFF2-40B4-BE49-F238E27FC236}">
                <a16:creationId xmlns:a16="http://schemas.microsoft.com/office/drawing/2014/main" id="{7F115F31-852B-5DDF-C516-C95EC7EF09BD}"/>
              </a:ext>
            </a:extLst>
          </p:cNvPr>
          <p:cNvSpPr/>
          <p:nvPr/>
        </p:nvSpPr>
        <p:spPr>
          <a:xfrm flipH="1">
            <a:off x="7279539" y="5102653"/>
            <a:ext cx="4701765" cy="669717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>
                <a:solidFill>
                  <a:srgbClr val="000000"/>
                </a:solidFill>
              </a:rPr>
              <a:t>Maximale Auslastung der Verbindungen die ein Rechner über </a:t>
            </a:r>
            <a:r>
              <a:rPr lang="de-DE" sz="1600" err="1">
                <a:solidFill>
                  <a:srgbClr val="000000"/>
                </a:solidFill>
              </a:rPr>
              <a:t>net</a:t>
            </a:r>
            <a:r>
              <a:rPr lang="de-DE" sz="1600">
                <a:solidFill>
                  <a:srgbClr val="000000"/>
                </a:solidFill>
              </a:rPr>
              <a:t> </a:t>
            </a:r>
            <a:r>
              <a:rPr lang="de-DE" sz="1600" err="1">
                <a:solidFill>
                  <a:srgbClr val="000000"/>
                </a:solidFill>
              </a:rPr>
              <a:t>use</a:t>
            </a:r>
            <a:r>
              <a:rPr lang="de-DE" sz="1600">
                <a:solidFill>
                  <a:srgbClr val="000000"/>
                </a:solidFill>
              </a:rPr>
              <a:t> halten kann</a:t>
            </a:r>
          </a:p>
        </p:txBody>
      </p:sp>
      <p:sp>
        <p:nvSpPr>
          <p:cNvPr id="12" name="Pfeil nach rechts 11">
            <a:extLst>
              <a:ext uri="{FF2B5EF4-FFF2-40B4-BE49-F238E27FC236}">
                <a16:creationId xmlns:a16="http://schemas.microsoft.com/office/drawing/2014/main" id="{BC855F0B-D38B-B917-86EC-A0A4849301F9}"/>
              </a:ext>
            </a:extLst>
          </p:cNvPr>
          <p:cNvSpPr/>
          <p:nvPr/>
        </p:nvSpPr>
        <p:spPr>
          <a:xfrm>
            <a:off x="4912469" y="3244333"/>
            <a:ext cx="1648047" cy="369332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E27F633A-D4D9-3DF3-7FF8-3205C57A8AE0}"/>
              </a:ext>
            </a:extLst>
          </p:cNvPr>
          <p:cNvSpPr/>
          <p:nvPr/>
        </p:nvSpPr>
        <p:spPr>
          <a:xfrm>
            <a:off x="4916012" y="4226691"/>
            <a:ext cx="1648047" cy="369332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 nach rechts 13">
            <a:extLst>
              <a:ext uri="{FF2B5EF4-FFF2-40B4-BE49-F238E27FC236}">
                <a16:creationId xmlns:a16="http://schemas.microsoft.com/office/drawing/2014/main" id="{C37F5905-49E5-D782-5B80-49CB82D40DE5}"/>
              </a:ext>
            </a:extLst>
          </p:cNvPr>
          <p:cNvSpPr/>
          <p:nvPr/>
        </p:nvSpPr>
        <p:spPr>
          <a:xfrm>
            <a:off x="4912468" y="5210583"/>
            <a:ext cx="1648047" cy="369332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990B3FF9-6BBA-9140-947D-07CC712CD9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04" y="206984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360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2122B-D17F-87F5-57B6-B9FFA5007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481991" cy="258532"/>
          </a:xfrm>
        </p:spPr>
        <p:txBody>
          <a:bodyPr/>
          <a:lstStyle/>
          <a:p>
            <a:r>
              <a:rPr lang="de-DE"/>
              <a:t>PLAT</a:t>
            </a:r>
          </a:p>
        </p:txBody>
      </p:sp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CEBB6AB1-8823-3C55-7283-70C291BD7542}"/>
              </a:ext>
            </a:extLst>
          </p:cNvPr>
          <p:cNvSpPr/>
          <p:nvPr/>
        </p:nvSpPr>
        <p:spPr>
          <a:xfrm flipH="1">
            <a:off x="1582657" y="1776343"/>
            <a:ext cx="9721485" cy="1455466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2800">
                <a:solidFill>
                  <a:srgbClr val="000000"/>
                </a:solidFill>
              </a:rPr>
              <a:t>Die Funktionen von PLAT</a:t>
            </a:r>
          </a:p>
        </p:txBody>
      </p:sp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CA10173B-7A7D-16D9-4480-764F06DF32FA}"/>
              </a:ext>
            </a:extLst>
          </p:cNvPr>
          <p:cNvSpPr/>
          <p:nvPr/>
        </p:nvSpPr>
        <p:spPr>
          <a:xfrm flipH="1">
            <a:off x="1586776" y="3891113"/>
            <a:ext cx="9721485" cy="143946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2800">
                <a:solidFill>
                  <a:srgbClr val="000000"/>
                </a:solidFill>
              </a:rPr>
              <a:t>Umsetzungen für die Zukunft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61E7358F-5066-6FA9-55CE-EC13F4E81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755187"/>
            <a:ext cx="11438518" cy="387798"/>
          </a:xfrm>
        </p:spPr>
        <p:txBody>
          <a:bodyPr wrap="square" lIns="0" tIns="0" rIns="91440" bIns="0" anchor="t">
            <a:spAutoFit/>
          </a:bodyPr>
          <a:lstStyle/>
          <a:p>
            <a:r>
              <a:rPr lang="de-DE"/>
              <a:t>Agend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F510CC-B20A-3010-30A2-1FA2EA518E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57" y="1985746"/>
            <a:ext cx="1043617" cy="103666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400FC48-E6FD-189A-414E-D4142560B3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56" y="4092513"/>
            <a:ext cx="1043617" cy="103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47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D32AA485-44FF-1DC1-C25A-6CE20040155A}"/>
              </a:ext>
            </a:extLst>
          </p:cNvPr>
          <p:cNvSpPr/>
          <p:nvPr/>
        </p:nvSpPr>
        <p:spPr>
          <a:xfrm flipH="1">
            <a:off x="827586" y="206984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Importieren von Logfiles</a:t>
            </a:r>
          </a:p>
        </p:txBody>
      </p:sp>
      <p:pic>
        <p:nvPicPr>
          <p:cNvPr id="7" name="Grafik 6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6D12D71-F9B8-C23A-F7A0-683E4CFBCA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121"/>
          <a:stretch/>
        </p:blipFill>
        <p:spPr>
          <a:xfrm>
            <a:off x="210704" y="1052623"/>
            <a:ext cx="5181600" cy="1329513"/>
          </a:xfrm>
          <a:prstGeom prst="rect">
            <a:avLst/>
          </a:prstGeom>
        </p:spPr>
      </p:pic>
      <p:pic>
        <p:nvPicPr>
          <p:cNvPr id="12" name="Grafik 11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766DE0A-F806-2EBB-BB82-26A477A54D3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64"/>
          <a:stretch/>
        </p:blipFill>
        <p:spPr>
          <a:xfrm>
            <a:off x="210704" y="2205813"/>
            <a:ext cx="5181600" cy="34671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F0D3975-AFCD-2A91-3F1A-11791E96E718}"/>
              </a:ext>
            </a:extLst>
          </p:cNvPr>
          <p:cNvSpPr txBox="1"/>
          <p:nvPr/>
        </p:nvSpPr>
        <p:spPr>
          <a:xfrm>
            <a:off x="6096000" y="1052623"/>
            <a:ext cx="604024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Über das Tool können die Logfiles direkt für den angegebene </a:t>
            </a:r>
          </a:p>
          <a:p>
            <a:r>
              <a:rPr lang="de-DE"/>
              <a:t>Zeitraum von der Kasse heruntergeladen werden und in einen </a:t>
            </a:r>
          </a:p>
          <a:p>
            <a:r>
              <a:rPr lang="de-DE"/>
              <a:t>Ordner der Wahl abgelegt werden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D0FA486-38C3-F64E-2D09-9A82749A753D}"/>
              </a:ext>
            </a:extLst>
          </p:cNvPr>
          <p:cNvSpPr txBox="1"/>
          <p:nvPr/>
        </p:nvSpPr>
        <p:spPr>
          <a:xfrm>
            <a:off x="6096000" y="2205813"/>
            <a:ext cx="5757602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Es werden nacheinander</a:t>
            </a:r>
          </a:p>
          <a:p>
            <a:r>
              <a:rPr lang="de-DE"/>
              <a:t>- NL-Nummer</a:t>
            </a:r>
          </a:p>
          <a:p>
            <a:r>
              <a:rPr lang="de-DE"/>
              <a:t>- Kassen-nummer</a:t>
            </a:r>
          </a:p>
          <a:p>
            <a:r>
              <a:rPr lang="de-DE"/>
              <a:t>- Benutzername und Passwort</a:t>
            </a:r>
          </a:p>
          <a:p>
            <a:r>
              <a:rPr lang="de-DE"/>
              <a:t>- Anfang und Ende des Zeitraums</a:t>
            </a:r>
          </a:p>
          <a:p>
            <a:r>
              <a:rPr lang="de-DE"/>
              <a:t>und der Zielordner erfragt.</a:t>
            </a:r>
          </a:p>
          <a:p>
            <a:endParaRPr lang="de-DE"/>
          </a:p>
          <a:p>
            <a:r>
              <a:rPr lang="de-DE"/>
              <a:t>Über die gefundenen Dateien wird der Benutzer informiert,</a:t>
            </a:r>
          </a:p>
          <a:p>
            <a:r>
              <a:rPr lang="de-DE"/>
              <a:t>sowie über den aktuellen Stand des Downloads.</a:t>
            </a:r>
          </a:p>
        </p:txBody>
      </p:sp>
      <p:pic>
        <p:nvPicPr>
          <p:cNvPr id="16" name="Grafik 15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29C37CC6-8B26-2B6E-4CA9-B0FC61028A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04" y="206984"/>
            <a:ext cx="525896" cy="52239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FF345E91-9AA1-513B-2382-A8B9311C3F7D}"/>
              </a:ext>
            </a:extLst>
          </p:cNvPr>
          <p:cNvSpPr txBox="1"/>
          <p:nvPr/>
        </p:nvSpPr>
        <p:spPr>
          <a:xfrm>
            <a:off x="6096000" y="5026582"/>
            <a:ext cx="5869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Nachdem der Download abgeschlossen ist, wird die Verbindung zur Kasse automatisch wieder getrennt</a:t>
            </a:r>
          </a:p>
        </p:txBody>
      </p:sp>
    </p:spTree>
    <p:extLst>
      <p:ext uri="{BB962C8B-B14F-4D97-AF65-F5344CB8AC3E}">
        <p14:creationId xmlns:p14="http://schemas.microsoft.com/office/powerpoint/2010/main" val="13346754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D32AA485-44FF-1DC1-C25A-6CE20040155A}"/>
              </a:ext>
            </a:extLst>
          </p:cNvPr>
          <p:cNvSpPr/>
          <p:nvPr/>
        </p:nvSpPr>
        <p:spPr>
          <a:xfrm flipH="1">
            <a:off x="827586" y="206984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Importieren von Logfiles</a:t>
            </a:r>
          </a:p>
        </p:txBody>
      </p:sp>
      <p:pic>
        <p:nvPicPr>
          <p:cNvPr id="16" name="Grafik 15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29C37CC6-8B26-2B6E-4CA9-B0FC61028A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04" y="206984"/>
            <a:ext cx="525896" cy="522390"/>
          </a:xfrm>
          <a:prstGeom prst="rect">
            <a:avLst/>
          </a:prstGeom>
        </p:spPr>
      </p:pic>
      <p:sp>
        <p:nvSpPr>
          <p:cNvPr id="6" name="Rechteck: eine Ecke abgeschnitten 15">
            <a:extLst>
              <a:ext uri="{FF2B5EF4-FFF2-40B4-BE49-F238E27FC236}">
                <a16:creationId xmlns:a16="http://schemas.microsoft.com/office/drawing/2014/main" id="{015859BD-C213-1095-E186-5170D536012F}"/>
              </a:ext>
            </a:extLst>
          </p:cNvPr>
          <p:cNvSpPr/>
          <p:nvPr/>
        </p:nvSpPr>
        <p:spPr>
          <a:xfrm flipH="1">
            <a:off x="210703" y="1155031"/>
            <a:ext cx="4563177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Aktive Benutzu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78C2E2E-2E3C-B86B-44C6-B68751AAAD25}"/>
              </a:ext>
            </a:extLst>
          </p:cNvPr>
          <p:cNvSpPr txBox="1"/>
          <p:nvPr/>
        </p:nvSpPr>
        <p:spPr>
          <a:xfrm>
            <a:off x="288921" y="1918412"/>
            <a:ext cx="1162203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Aufgrund der Möglichkeiten die sich ergeben, dieses Tool zu nutzen ist es möglich, den Import mit den Allgemeinen </a:t>
            </a:r>
            <a:r>
              <a:rPr lang="de-DE" err="1"/>
              <a:t>Strukurfunktionen</a:t>
            </a:r>
            <a:r>
              <a:rPr lang="de-DE"/>
              <a:t> und dem Reduzieren der Dateien zu verbinden.</a:t>
            </a:r>
          </a:p>
          <a:p>
            <a:endParaRPr lang="de-DE"/>
          </a:p>
          <a:p>
            <a:r>
              <a:rPr lang="de-DE"/>
              <a:t>So ist es möglich dem Import der Logfiles direkt ein paar weitere Funktionen hinten anzuschalten.</a:t>
            </a:r>
          </a:p>
          <a:p>
            <a:endParaRPr lang="de-DE"/>
          </a:p>
          <a:p>
            <a:r>
              <a:rPr lang="de-DE"/>
              <a:t>Implementiert ist ein kleines Menü in dem eingestellt werden kann, ob nach jedem Import von Zip-Archiven</a:t>
            </a:r>
          </a:p>
          <a:p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Die darin enthaltenen Dateien direkt extrahiert werden so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Die extrahierten Dateien mit dem </a:t>
            </a:r>
            <a:r>
              <a:rPr lang="de-DE" err="1"/>
              <a:t>Timestamp</a:t>
            </a:r>
            <a:r>
              <a:rPr lang="de-DE"/>
              <a:t> umbenannt werden so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Die Dateien reduziert werden so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Die originalen Logdateien so wie die Zip-Archive gelöscht werden soll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  <a:p>
            <a:r>
              <a:rPr lang="de-DE"/>
              <a:t>Gewisse Funktionen funktionieren jedoch nur wenn andere aktiviert si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90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2122B-D17F-87F5-57B6-B9FFA5007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481991" cy="258532"/>
          </a:xfrm>
        </p:spPr>
        <p:txBody>
          <a:bodyPr/>
          <a:lstStyle/>
          <a:p>
            <a:r>
              <a:rPr lang="de-DE"/>
              <a:t>PLAT</a:t>
            </a:r>
          </a:p>
        </p:txBody>
      </p:sp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CEBB6AB1-8823-3C55-7283-70C291BD7542}"/>
              </a:ext>
            </a:extLst>
          </p:cNvPr>
          <p:cNvSpPr/>
          <p:nvPr/>
        </p:nvSpPr>
        <p:spPr>
          <a:xfrm flipH="1">
            <a:off x="1674420" y="1009097"/>
            <a:ext cx="9123869" cy="103666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2800">
                <a:solidFill>
                  <a:srgbClr val="000000"/>
                </a:solidFill>
              </a:rPr>
              <a:t>Die Funktionen von PLA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F510CC-B20A-3010-30A2-1FA2EA518E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07" y="1009097"/>
            <a:ext cx="1043617" cy="10366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39CB0AD4-9739-3912-765E-AE29B4EB3629}"/>
              </a:ext>
            </a:extLst>
          </p:cNvPr>
          <p:cNvSpPr txBox="1"/>
          <p:nvPr/>
        </p:nvSpPr>
        <p:spPr>
          <a:xfrm>
            <a:off x="382007" y="2540182"/>
            <a:ext cx="1120783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200"/>
              <a:t>Die Lesbarkeit der Logfiles wird verbessert in dem keine Einträge mehr die nichts mit dem aktuell wichtigen Vorgang zu tun haben dazwischen steh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54BB9C3-621B-2B45-2B66-710FA266AEE0}"/>
              </a:ext>
            </a:extLst>
          </p:cNvPr>
          <p:cNvSpPr txBox="1"/>
          <p:nvPr/>
        </p:nvSpPr>
        <p:spPr>
          <a:xfrm>
            <a:off x="382007" y="3548378"/>
            <a:ext cx="94699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200"/>
              <a:t>Die Größe der Logfiles wird vorerst um ein maximum von 11MB pro File reduzier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1CA0A8C-9FB8-3DB9-1FB1-29114217BB4F}"/>
              </a:ext>
            </a:extLst>
          </p:cNvPr>
          <p:cNvSpPr txBox="1"/>
          <p:nvPr/>
        </p:nvSpPr>
        <p:spPr>
          <a:xfrm>
            <a:off x="382007" y="4218020"/>
            <a:ext cx="1070786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200"/>
              <a:t>Importieren und Händeln der Logfiles wird einfacherer, weniger Fehleranfällig und schneller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52FCFFC-9A9A-3FBA-CD80-74726D05A2D3}"/>
              </a:ext>
            </a:extLst>
          </p:cNvPr>
          <p:cNvSpPr txBox="1"/>
          <p:nvPr/>
        </p:nvSpPr>
        <p:spPr>
          <a:xfrm>
            <a:off x="382007" y="4887662"/>
            <a:ext cx="8762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200"/>
              <a:t>Es wird Zeit bei der Auswertung und dem durchsuchen von Logfiles gespart</a:t>
            </a:r>
          </a:p>
        </p:txBody>
      </p:sp>
    </p:spTree>
    <p:extLst>
      <p:ext uri="{BB962C8B-B14F-4D97-AF65-F5344CB8AC3E}">
        <p14:creationId xmlns:p14="http://schemas.microsoft.com/office/powerpoint/2010/main" val="16660499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84EE079-A991-4543-83CC-F7BF67FC67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D9E0DB2-F625-4798-BF09-3373430913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82807" y="4033651"/>
            <a:ext cx="6739188" cy="1373589"/>
          </a:xfrm>
        </p:spPr>
        <p:txBody>
          <a:bodyPr>
            <a:normAutofit lnSpcReduction="10000"/>
          </a:bodyPr>
          <a:lstStyle/>
          <a:p>
            <a:r>
              <a:rPr lang="de-DE"/>
              <a:t>Pläne für die Zukunf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911DAC0-172A-BF44-CE85-5F75DD8B74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3652"/>
            <a:ext cx="1382807" cy="1373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27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C35E7C8D-69E7-5AFF-D745-F1007426C381}"/>
              </a:ext>
            </a:extLst>
          </p:cNvPr>
          <p:cNvSpPr/>
          <p:nvPr/>
        </p:nvSpPr>
        <p:spPr>
          <a:xfrm flipH="1">
            <a:off x="1013910" y="186014"/>
            <a:ext cx="5094516" cy="502756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DE" sz="2800">
                <a:solidFill>
                  <a:srgbClr val="000000"/>
                </a:solidFill>
              </a:rPr>
              <a:t>Umsetzungen für die Zukunf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D926462-22EA-BF38-C303-978BB5A3B0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67" y="186015"/>
            <a:ext cx="506130" cy="502756"/>
          </a:xfrm>
          <a:prstGeom prst="rect">
            <a:avLst/>
          </a:prstGeom>
        </p:spPr>
      </p:pic>
      <p:sp>
        <p:nvSpPr>
          <p:cNvPr id="9" name="CuadroTexto 395">
            <a:extLst>
              <a:ext uri="{FF2B5EF4-FFF2-40B4-BE49-F238E27FC236}">
                <a16:creationId xmlns:a16="http://schemas.microsoft.com/office/drawing/2014/main" id="{34A208F9-4C92-0FEF-E1A6-3C0AC4C74C59}"/>
              </a:ext>
            </a:extLst>
          </p:cNvPr>
          <p:cNvSpPr txBox="1"/>
          <p:nvPr/>
        </p:nvSpPr>
        <p:spPr>
          <a:xfrm>
            <a:off x="1200947" y="1790721"/>
            <a:ext cx="37405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err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Geplante</a:t>
            </a:r>
            <a:r>
              <a:rPr lang="en-US" sz="2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 </a:t>
            </a:r>
            <a:r>
              <a:rPr lang="en-US" sz="2000" b="1" err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Implementationen</a:t>
            </a:r>
            <a:endParaRPr lang="en-US" sz="2000" b="1">
              <a:solidFill>
                <a:schemeClr val="accent6"/>
              </a:solidFill>
              <a:latin typeface="+mj-lt"/>
              <a:ea typeface="Lato" charset="0"/>
              <a:cs typeface="Lato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44D485E-2EEA-DEDD-6DE0-EB91088755BA}"/>
              </a:ext>
            </a:extLst>
          </p:cNvPr>
          <p:cNvGrpSpPr/>
          <p:nvPr/>
        </p:nvGrpSpPr>
        <p:grpSpPr>
          <a:xfrm>
            <a:off x="407340" y="3271961"/>
            <a:ext cx="4568421" cy="830997"/>
            <a:chOff x="450266" y="3150615"/>
            <a:chExt cx="4424745" cy="830997"/>
          </a:xfrm>
        </p:grpSpPr>
        <p:sp>
          <p:nvSpPr>
            <p:cNvPr id="22" name="CuadroTexto 395">
              <a:extLst>
                <a:ext uri="{FF2B5EF4-FFF2-40B4-BE49-F238E27FC236}">
                  <a16:creationId xmlns:a16="http://schemas.microsoft.com/office/drawing/2014/main" id="{E52154A1-2D94-B04E-D333-85C4C05A370D}"/>
                </a:ext>
              </a:extLst>
            </p:cNvPr>
            <p:cNvSpPr txBox="1"/>
            <p:nvPr/>
          </p:nvSpPr>
          <p:spPr>
            <a:xfrm>
              <a:off x="1200947" y="3150615"/>
              <a:ext cx="367406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Speichern der Benutzerinformationen wie Passwort und Benutzername für eine gewissen Zeit</a:t>
              </a:r>
            </a:p>
          </p:txBody>
        </p:sp>
        <p:pic>
          <p:nvPicPr>
            <p:cNvPr id="23" name="Grafik 22" descr="Volltreffer mit einfarbiger Füllung">
              <a:extLst>
                <a:ext uri="{FF2B5EF4-FFF2-40B4-BE49-F238E27FC236}">
                  <a16:creationId xmlns:a16="http://schemas.microsoft.com/office/drawing/2014/main" id="{335992A7-AECF-B5B3-2A2C-24B9C054E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3277411"/>
              <a:ext cx="538684" cy="538684"/>
            </a:xfrm>
            <a:prstGeom prst="rect">
              <a:avLst/>
            </a:prstGeom>
          </p:spPr>
        </p:pic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2F77FCC-2874-CFFF-8F84-1F2649D7D9F1}"/>
              </a:ext>
            </a:extLst>
          </p:cNvPr>
          <p:cNvGrpSpPr/>
          <p:nvPr/>
        </p:nvGrpSpPr>
        <p:grpSpPr>
          <a:xfrm>
            <a:off x="450265" y="2326819"/>
            <a:ext cx="4225255" cy="584775"/>
            <a:chOff x="450266" y="2326819"/>
            <a:chExt cx="4424746" cy="584775"/>
          </a:xfrm>
        </p:grpSpPr>
        <p:sp>
          <p:nvSpPr>
            <p:cNvPr id="25" name="CuadroTexto 395">
              <a:extLst>
                <a:ext uri="{FF2B5EF4-FFF2-40B4-BE49-F238E27FC236}">
                  <a16:creationId xmlns:a16="http://schemas.microsoft.com/office/drawing/2014/main" id="{3A91241C-C427-4A44-F6A8-BE6E38DCB73D}"/>
                </a:ext>
              </a:extLst>
            </p:cNvPr>
            <p:cNvSpPr txBox="1"/>
            <p:nvPr/>
          </p:nvSpPr>
          <p:spPr>
            <a:xfrm>
              <a:off x="1200947" y="2326819"/>
              <a:ext cx="36740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Import von mehreren Kassen und mehreren Niederlassungen gleichzeitig</a:t>
              </a:r>
            </a:p>
          </p:txBody>
        </p:sp>
        <p:pic>
          <p:nvPicPr>
            <p:cNvPr id="26" name="Grafik 25" descr="Volltreffer mit einfarbiger Füllung">
              <a:extLst>
                <a:ext uri="{FF2B5EF4-FFF2-40B4-BE49-F238E27FC236}">
                  <a16:creationId xmlns:a16="http://schemas.microsoft.com/office/drawing/2014/main" id="{C2F33BD0-63B5-7071-A988-2EB6E1FBED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2338476"/>
              <a:ext cx="538684" cy="538684"/>
            </a:xfrm>
            <a:prstGeom prst="rect">
              <a:avLst/>
            </a:prstGeom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DD5B327-E681-C3C1-C6C6-857DA27690FD}"/>
              </a:ext>
            </a:extLst>
          </p:cNvPr>
          <p:cNvGrpSpPr/>
          <p:nvPr/>
        </p:nvGrpSpPr>
        <p:grpSpPr>
          <a:xfrm>
            <a:off x="407340" y="4353091"/>
            <a:ext cx="4568422" cy="830997"/>
            <a:chOff x="450266" y="3998608"/>
            <a:chExt cx="4424745" cy="830997"/>
          </a:xfrm>
        </p:grpSpPr>
        <p:sp>
          <p:nvSpPr>
            <p:cNvPr id="28" name="CuadroTexto 395">
              <a:extLst>
                <a:ext uri="{FF2B5EF4-FFF2-40B4-BE49-F238E27FC236}">
                  <a16:creationId xmlns:a16="http://schemas.microsoft.com/office/drawing/2014/main" id="{F70C1CD2-B838-F31B-D090-AC8ACEB48EA3}"/>
                </a:ext>
              </a:extLst>
            </p:cNvPr>
            <p:cNvSpPr txBox="1"/>
            <p:nvPr/>
          </p:nvSpPr>
          <p:spPr>
            <a:xfrm>
              <a:off x="1200947" y="3998608"/>
              <a:ext cx="367406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Filtern des Neustarts der Kasse und weitere Reduzierung um 2.500 bis 5000 Zeilen pro Logdatei</a:t>
              </a:r>
            </a:p>
          </p:txBody>
        </p:sp>
        <p:pic>
          <p:nvPicPr>
            <p:cNvPr id="29" name="Grafik 28" descr="Volltreffer mit einfarbiger Füllung">
              <a:extLst>
                <a:ext uri="{FF2B5EF4-FFF2-40B4-BE49-F238E27FC236}">
                  <a16:creationId xmlns:a16="http://schemas.microsoft.com/office/drawing/2014/main" id="{317EF349-81B0-7130-6D15-EE94CAEA7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4157909"/>
              <a:ext cx="538684" cy="538684"/>
            </a:xfrm>
            <a:prstGeom prst="rect">
              <a:avLst/>
            </a:prstGeom>
          </p:spPr>
        </p:pic>
      </p:grpSp>
      <p:sp>
        <p:nvSpPr>
          <p:cNvPr id="30" name="CuadroTexto 395">
            <a:extLst>
              <a:ext uri="{FF2B5EF4-FFF2-40B4-BE49-F238E27FC236}">
                <a16:creationId xmlns:a16="http://schemas.microsoft.com/office/drawing/2014/main" id="{C55D007F-D37F-C4C8-B2FC-B1AF996CB3D7}"/>
              </a:ext>
            </a:extLst>
          </p:cNvPr>
          <p:cNvSpPr txBox="1"/>
          <p:nvPr/>
        </p:nvSpPr>
        <p:spPr>
          <a:xfrm>
            <a:off x="6850623" y="1790721"/>
            <a:ext cx="37405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err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Zukunftsdenken</a:t>
            </a:r>
            <a:endParaRPr lang="en-US" sz="2000" b="1">
              <a:solidFill>
                <a:schemeClr val="accent6"/>
              </a:solidFill>
              <a:latin typeface="+mj-lt"/>
              <a:ea typeface="Lato" charset="0"/>
              <a:cs typeface="Lato" charset="0"/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FE831CD-53EF-0BC2-DB45-1A5FB5680C9F}"/>
              </a:ext>
            </a:extLst>
          </p:cNvPr>
          <p:cNvGrpSpPr/>
          <p:nvPr/>
        </p:nvGrpSpPr>
        <p:grpSpPr>
          <a:xfrm>
            <a:off x="6057016" y="3375711"/>
            <a:ext cx="4568421" cy="584775"/>
            <a:chOff x="450266" y="3254365"/>
            <a:chExt cx="4424745" cy="584775"/>
          </a:xfrm>
        </p:grpSpPr>
        <p:sp>
          <p:nvSpPr>
            <p:cNvPr id="32" name="CuadroTexto 395">
              <a:extLst>
                <a:ext uri="{FF2B5EF4-FFF2-40B4-BE49-F238E27FC236}">
                  <a16:creationId xmlns:a16="http://schemas.microsoft.com/office/drawing/2014/main" id="{A02ED1CD-93D4-3D52-17AF-D042F04776B3}"/>
                </a:ext>
              </a:extLst>
            </p:cNvPr>
            <p:cNvSpPr txBox="1"/>
            <p:nvPr/>
          </p:nvSpPr>
          <p:spPr>
            <a:xfrm>
              <a:off x="1200947" y="3254365"/>
              <a:ext cx="36740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Automatisierte Auswertung der Dateien und kein manuelles suchen mehr</a:t>
              </a:r>
            </a:p>
          </p:txBody>
        </p:sp>
        <p:pic>
          <p:nvPicPr>
            <p:cNvPr id="33" name="Grafik 32" descr="Volltreffer mit einfarbiger Füllung">
              <a:extLst>
                <a:ext uri="{FF2B5EF4-FFF2-40B4-BE49-F238E27FC236}">
                  <a16:creationId xmlns:a16="http://schemas.microsoft.com/office/drawing/2014/main" id="{9ACAF1FC-A593-B4EF-59CC-82FE24185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3277411"/>
              <a:ext cx="538684" cy="538684"/>
            </a:xfrm>
            <a:prstGeom prst="rect">
              <a:avLst/>
            </a:prstGeom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50FA64A-FB97-6F85-0277-76F4356D2094}"/>
              </a:ext>
            </a:extLst>
          </p:cNvPr>
          <p:cNvGrpSpPr/>
          <p:nvPr/>
        </p:nvGrpSpPr>
        <p:grpSpPr>
          <a:xfrm>
            <a:off x="6099941" y="2338476"/>
            <a:ext cx="4240550" cy="538684"/>
            <a:chOff x="450266" y="2338476"/>
            <a:chExt cx="4440763" cy="538684"/>
          </a:xfrm>
        </p:grpSpPr>
        <p:sp>
          <p:nvSpPr>
            <p:cNvPr id="35" name="CuadroTexto 395">
              <a:extLst>
                <a:ext uri="{FF2B5EF4-FFF2-40B4-BE49-F238E27FC236}">
                  <a16:creationId xmlns:a16="http://schemas.microsoft.com/office/drawing/2014/main" id="{B910A861-9056-18F8-8120-E9A37A3A4CA3}"/>
                </a:ext>
              </a:extLst>
            </p:cNvPr>
            <p:cNvSpPr txBox="1"/>
            <p:nvPr/>
          </p:nvSpPr>
          <p:spPr>
            <a:xfrm>
              <a:off x="1216964" y="2424214"/>
              <a:ext cx="36740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GUI zur verbesserten Verwendbarkeit</a:t>
              </a:r>
            </a:p>
          </p:txBody>
        </p:sp>
        <p:pic>
          <p:nvPicPr>
            <p:cNvPr id="36" name="Grafik 35" descr="Volltreffer mit einfarbiger Füllung">
              <a:extLst>
                <a:ext uri="{FF2B5EF4-FFF2-40B4-BE49-F238E27FC236}">
                  <a16:creationId xmlns:a16="http://schemas.microsoft.com/office/drawing/2014/main" id="{F7789400-7FD2-F73D-B6EE-AB945C2C9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2338476"/>
              <a:ext cx="538684" cy="538684"/>
            </a:xfrm>
            <a:prstGeom prst="rect">
              <a:avLst/>
            </a:prstGeom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3B3BC96-0103-BA6E-049C-5B81EE2F0B81}"/>
              </a:ext>
            </a:extLst>
          </p:cNvPr>
          <p:cNvGrpSpPr/>
          <p:nvPr/>
        </p:nvGrpSpPr>
        <p:grpSpPr>
          <a:xfrm>
            <a:off x="6057016" y="4366235"/>
            <a:ext cx="4560574" cy="830997"/>
            <a:chOff x="450266" y="4011752"/>
            <a:chExt cx="4417144" cy="830997"/>
          </a:xfrm>
        </p:grpSpPr>
        <p:sp>
          <p:nvSpPr>
            <p:cNvPr id="38" name="CuadroTexto 395">
              <a:extLst>
                <a:ext uri="{FF2B5EF4-FFF2-40B4-BE49-F238E27FC236}">
                  <a16:creationId xmlns:a16="http://schemas.microsoft.com/office/drawing/2014/main" id="{F36A6966-FBAA-0F78-5D9A-2D7EE9E70161}"/>
                </a:ext>
              </a:extLst>
            </p:cNvPr>
            <p:cNvSpPr txBox="1"/>
            <p:nvPr/>
          </p:nvSpPr>
          <p:spPr>
            <a:xfrm>
              <a:off x="1193346" y="4011752"/>
              <a:ext cx="367406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Sichern der reduzierten Dateien intern um damit die Vorhaltedauert der Logdateien zu verlängern</a:t>
              </a:r>
            </a:p>
          </p:txBody>
        </p:sp>
        <p:pic>
          <p:nvPicPr>
            <p:cNvPr id="39" name="Grafik 38" descr="Volltreffer mit einfarbiger Füllung">
              <a:extLst>
                <a:ext uri="{FF2B5EF4-FFF2-40B4-BE49-F238E27FC236}">
                  <a16:creationId xmlns:a16="http://schemas.microsoft.com/office/drawing/2014/main" id="{3BF07B78-B28B-5155-9792-2FAE8D1BC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0266" y="4157909"/>
              <a:ext cx="538684" cy="538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93076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: eine Ecke abgeschnitten 15">
            <a:extLst>
              <a:ext uri="{FF2B5EF4-FFF2-40B4-BE49-F238E27FC236}">
                <a16:creationId xmlns:a16="http://schemas.microsoft.com/office/drawing/2014/main" id="{68172B28-A930-49A7-ACC5-5D72C338BDC6}"/>
              </a:ext>
            </a:extLst>
          </p:cNvPr>
          <p:cNvSpPr/>
          <p:nvPr/>
        </p:nvSpPr>
        <p:spPr>
          <a:xfrm flipH="1">
            <a:off x="382006" y="2368627"/>
            <a:ext cx="5378713" cy="3400347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de-DE"/>
          </a:p>
        </p:txBody>
      </p:sp>
      <p:sp>
        <p:nvSpPr>
          <p:cNvPr id="76" name="Inhaltsplatzhalter 7">
            <a:extLst>
              <a:ext uri="{FF2B5EF4-FFF2-40B4-BE49-F238E27FC236}">
                <a16:creationId xmlns:a16="http://schemas.microsoft.com/office/drawing/2014/main" id="{B6462F4D-1DE6-4142-83E6-E927D4DED1C8}"/>
              </a:ext>
            </a:extLst>
          </p:cNvPr>
          <p:cNvSpPr txBox="1">
            <a:spLocks/>
          </p:cNvSpPr>
          <p:nvPr/>
        </p:nvSpPr>
        <p:spPr>
          <a:xfrm>
            <a:off x="361323" y="1916113"/>
            <a:ext cx="11459202" cy="385286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6"/>
              </a:buClr>
              <a:buNone/>
            </a:pPr>
            <a:endParaRPr lang="de-DE">
              <a:solidFill>
                <a:srgbClr val="2C2F34"/>
              </a:solidFill>
            </a:endParaRP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F272F1C-1B42-40EB-B8DF-ED10D94D3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7" name="Rechteck: eine Ecke abgeschnitten 76">
            <a:extLst>
              <a:ext uri="{FF2B5EF4-FFF2-40B4-BE49-F238E27FC236}">
                <a16:creationId xmlns:a16="http://schemas.microsoft.com/office/drawing/2014/main" id="{8674B175-8607-4278-B3D5-1C2C752C6ACF}"/>
              </a:ext>
            </a:extLst>
          </p:cNvPr>
          <p:cNvSpPr/>
          <p:nvPr/>
        </p:nvSpPr>
        <p:spPr>
          <a:xfrm flipH="1">
            <a:off x="6096000" y="2368627"/>
            <a:ext cx="5713992" cy="3400347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5" name="Rectangle 56">
            <a:extLst>
              <a:ext uri="{FF2B5EF4-FFF2-40B4-BE49-F238E27FC236}">
                <a16:creationId xmlns:a16="http://schemas.microsoft.com/office/drawing/2014/main" id="{D4389471-72D3-436F-8D3C-E99C9F9D0CE6}"/>
              </a:ext>
            </a:extLst>
          </p:cNvPr>
          <p:cNvSpPr/>
          <p:nvPr/>
        </p:nvSpPr>
        <p:spPr>
          <a:xfrm>
            <a:off x="6309072" y="2696035"/>
            <a:ext cx="5199155" cy="156966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80975" indent="-180975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>
                <a:ea typeface="Lato Light"/>
                <a:cs typeface="Lato Light"/>
              </a:rPr>
              <a:t>Abc</a:t>
            </a:r>
          </a:p>
          <a:p>
            <a:pPr marL="180975" indent="-180975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>
                <a:ea typeface="Lato Light"/>
                <a:cs typeface="Lato Light"/>
              </a:rPr>
              <a:t>Abc</a:t>
            </a:r>
          </a:p>
          <a:p>
            <a:pPr marL="180975" indent="-180975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>
                <a:ea typeface="Lato Light"/>
                <a:cs typeface="Lato Light"/>
              </a:rPr>
              <a:t>Abc</a:t>
            </a:r>
          </a:p>
          <a:p>
            <a:pPr marL="180975" indent="-180975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endParaRPr lang="de-DE">
              <a:ea typeface="Lato Light"/>
              <a:cs typeface="Lato Light"/>
            </a:endParaRPr>
          </a:p>
        </p:txBody>
      </p:sp>
      <p:sp>
        <p:nvSpPr>
          <p:cNvPr id="96" name="Freeform 209">
            <a:extLst>
              <a:ext uri="{FF2B5EF4-FFF2-40B4-BE49-F238E27FC236}">
                <a16:creationId xmlns:a16="http://schemas.microsoft.com/office/drawing/2014/main" id="{87DEEC94-EF17-41EE-8C67-84DD7C2DC6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9994" y="1928326"/>
            <a:ext cx="4297179" cy="340173"/>
          </a:xfrm>
          <a:prstGeom prst="rect">
            <a:avLst/>
          </a:prstGeom>
          <a:solidFill>
            <a:srgbClr val="EE1F26"/>
          </a:solidFill>
          <a:ln>
            <a:noFill/>
          </a:ln>
          <a:effectLst/>
        </p:spPr>
        <p:txBody>
          <a:bodyPr wrap="none" bIns="72000" anchor="ctr"/>
          <a:lstStyle/>
          <a:p>
            <a:pPr algn="ctr"/>
            <a:r>
              <a:rPr lang="de-DE" sz="2000">
                <a:solidFill>
                  <a:schemeClr val="bg1"/>
                </a:solidFill>
                <a:latin typeface="+mj-lt"/>
                <a:ea typeface="Lato" charset="0"/>
                <a:cs typeface="Lato" charset="0"/>
              </a:rPr>
              <a:t>Einsatzzweck der Unterlage</a:t>
            </a:r>
          </a:p>
        </p:txBody>
      </p: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10BBFC90-1E4A-49B1-A7FA-507AE500D1D9}"/>
              </a:ext>
            </a:extLst>
          </p:cNvPr>
          <p:cNvGrpSpPr/>
          <p:nvPr/>
        </p:nvGrpSpPr>
        <p:grpSpPr>
          <a:xfrm>
            <a:off x="10645313" y="1837116"/>
            <a:ext cx="862914" cy="858919"/>
            <a:chOff x="956328" y="1853311"/>
            <a:chExt cx="1300220" cy="1294200"/>
          </a:xfrm>
        </p:grpSpPr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DBD127B5-39E2-4257-B50D-5E274D1AC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6328" y="1853311"/>
              <a:ext cx="1300220" cy="1294200"/>
            </a:xfrm>
            <a:prstGeom prst="rect">
              <a:avLst/>
            </a:prstGeom>
          </p:spPr>
        </p:pic>
        <p:grpSp>
          <p:nvGrpSpPr>
            <p:cNvPr id="99" name="Gruppieren 98">
              <a:extLst>
                <a:ext uri="{FF2B5EF4-FFF2-40B4-BE49-F238E27FC236}">
                  <a16:creationId xmlns:a16="http://schemas.microsoft.com/office/drawing/2014/main" id="{A3C8A9A2-3486-46BF-9BD9-01D2E8ED446A}"/>
                </a:ext>
              </a:extLst>
            </p:cNvPr>
            <p:cNvGrpSpPr/>
            <p:nvPr/>
          </p:nvGrpSpPr>
          <p:grpSpPr>
            <a:xfrm>
              <a:off x="1098907" y="2005903"/>
              <a:ext cx="972000" cy="972000"/>
              <a:chOff x="376239" y="1122126"/>
              <a:chExt cx="906040" cy="900000"/>
            </a:xfrm>
          </p:grpSpPr>
          <p:pic>
            <p:nvPicPr>
              <p:cNvPr id="101" name="Grafik 100">
                <a:extLst>
                  <a:ext uri="{FF2B5EF4-FFF2-40B4-BE49-F238E27FC236}">
                    <a16:creationId xmlns:a16="http://schemas.microsoft.com/office/drawing/2014/main" id="{CB73A7C3-33C6-4C67-8B1D-9F8F6E3355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6239" y="1122126"/>
                <a:ext cx="906040" cy="900000"/>
              </a:xfrm>
              <a:prstGeom prst="rect">
                <a:avLst/>
              </a:prstGeom>
            </p:spPr>
          </p:pic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DD5C4809-AB68-4550-A2C7-42534AA77E82}"/>
                  </a:ext>
                </a:extLst>
              </p:cNvPr>
              <p:cNvSpPr/>
              <p:nvPr/>
            </p:nvSpPr>
            <p:spPr>
              <a:xfrm>
                <a:off x="532011" y="1292215"/>
                <a:ext cx="496689" cy="627033"/>
              </a:xfrm>
              <a:prstGeom prst="rect">
                <a:avLst/>
              </a:prstGeom>
              <a:solidFill>
                <a:srgbClr val="EC1C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pic>
        <p:nvPicPr>
          <p:cNvPr id="5" name="Grafik 4" descr="Ausrufezeichen mit einfarbiger Füllung">
            <a:extLst>
              <a:ext uri="{FF2B5EF4-FFF2-40B4-BE49-F238E27FC236}">
                <a16:creationId xmlns:a16="http://schemas.microsoft.com/office/drawing/2014/main" id="{4745CD7A-D960-485F-ADC3-D2A71F56C0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3186" y="1968977"/>
            <a:ext cx="587167" cy="587167"/>
          </a:xfrm>
          <a:prstGeom prst="rect">
            <a:avLst/>
          </a:prstGeom>
        </p:spPr>
      </p:pic>
      <p:sp>
        <p:nvSpPr>
          <p:cNvPr id="15" name="Freeform 209">
            <a:extLst>
              <a:ext uri="{FF2B5EF4-FFF2-40B4-BE49-F238E27FC236}">
                <a16:creationId xmlns:a16="http://schemas.microsoft.com/office/drawing/2014/main" id="{C558A955-24D1-424E-9D32-743316782B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008" y="1928326"/>
            <a:ext cx="1930886" cy="340173"/>
          </a:xfrm>
          <a:prstGeom prst="rect">
            <a:avLst/>
          </a:prstGeom>
          <a:solidFill>
            <a:srgbClr val="EE1F26"/>
          </a:solidFill>
          <a:ln>
            <a:noFill/>
          </a:ln>
          <a:effectLst/>
        </p:spPr>
        <p:txBody>
          <a:bodyPr wrap="none" bIns="72000" anchor="ctr"/>
          <a:lstStyle/>
          <a:p>
            <a:pPr algn="ctr"/>
            <a:r>
              <a:rPr lang="de-DE" sz="2000">
                <a:solidFill>
                  <a:schemeClr val="bg1"/>
                </a:solidFill>
                <a:latin typeface="+mj-lt"/>
                <a:ea typeface="Lato" charset="0"/>
                <a:cs typeface="Lato" charset="0"/>
              </a:rPr>
              <a:t>Inhalt</a:t>
            </a:r>
          </a:p>
        </p:txBody>
      </p:sp>
      <p:sp>
        <p:nvSpPr>
          <p:cNvPr id="17" name="Rectangle 56">
            <a:extLst>
              <a:ext uri="{FF2B5EF4-FFF2-40B4-BE49-F238E27FC236}">
                <a16:creationId xmlns:a16="http://schemas.microsoft.com/office/drawing/2014/main" id="{2719F886-8006-4EDA-919B-A842610286C3}"/>
              </a:ext>
            </a:extLst>
          </p:cNvPr>
          <p:cNvSpPr/>
          <p:nvPr/>
        </p:nvSpPr>
        <p:spPr>
          <a:xfrm>
            <a:off x="577199" y="2696035"/>
            <a:ext cx="4950298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indent="-457200">
              <a:spcAft>
                <a:spcPts val="12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de-DE" sz="1800"/>
              <a:t>Abc</a:t>
            </a:r>
          </a:p>
          <a:p>
            <a:pPr marL="457200" indent="-457200">
              <a:spcAft>
                <a:spcPts val="12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de-DE">
                <a:solidFill>
                  <a:srgbClr val="2C2F34"/>
                </a:solidFill>
              </a:rPr>
              <a:t>Abc</a:t>
            </a:r>
          </a:p>
          <a:p>
            <a:pPr marL="457200" indent="-457200">
              <a:spcAft>
                <a:spcPts val="12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de-DE" sz="1800">
                <a:solidFill>
                  <a:srgbClr val="2C2F34"/>
                </a:solidFill>
              </a:rPr>
              <a:t>Abc</a:t>
            </a:r>
          </a:p>
          <a:p>
            <a:pPr marL="457200" indent="-457200">
              <a:spcAft>
                <a:spcPts val="1200"/>
              </a:spcAft>
              <a:buClr>
                <a:schemeClr val="accent6"/>
              </a:buClr>
              <a:buFont typeface="+mj-lt"/>
              <a:buAutoNum type="arabicPeriod"/>
            </a:pPr>
            <a:endParaRPr lang="de-DE" sz="1800">
              <a:solidFill>
                <a:srgbClr val="2C2F34"/>
              </a:solidFill>
            </a:endParaRP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90BE39F-C283-4734-B9C1-F2AE5E344E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2183393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24629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84EE079-A991-4543-83CC-F7BF67FC67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D9E0DB2-F625-4798-BF09-3373430913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2746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69" descr="target_blank">
            <a:extLst>
              <a:ext uri="{FF2B5EF4-FFF2-40B4-BE49-F238E27FC236}">
                <a16:creationId xmlns:a16="http://schemas.microsoft.com/office/drawing/2014/main" id="{5F876DD0-2326-4A67-9B0B-5AD626EFE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2007" y="1909624"/>
            <a:ext cx="3749643" cy="385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Rechteck: eine Ecke abgeschnitten 34">
            <a:extLst>
              <a:ext uri="{FF2B5EF4-FFF2-40B4-BE49-F238E27FC236}">
                <a16:creationId xmlns:a16="http://schemas.microsoft.com/office/drawing/2014/main" id="{C6FE1E97-A9BD-413D-A206-3DD52BDA5467}"/>
              </a:ext>
            </a:extLst>
          </p:cNvPr>
          <p:cNvSpPr/>
          <p:nvPr/>
        </p:nvSpPr>
        <p:spPr>
          <a:xfrm flipH="1">
            <a:off x="3664032" y="2044179"/>
            <a:ext cx="6348071" cy="72000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193A16A-DF40-4E09-B523-672B28BB4EAB}"/>
              </a:ext>
            </a:extLst>
          </p:cNvPr>
          <p:cNvGrpSpPr>
            <a:grpSpLocks noChangeAspect="1"/>
          </p:cNvGrpSpPr>
          <p:nvPr/>
        </p:nvGrpSpPr>
        <p:grpSpPr>
          <a:xfrm>
            <a:off x="3267281" y="1909624"/>
            <a:ext cx="652392" cy="650712"/>
            <a:chOff x="1955145" y="-1509610"/>
            <a:chExt cx="860369" cy="858154"/>
          </a:xfrm>
        </p:grpSpPr>
        <p:sp>
          <p:nvSpPr>
            <p:cNvPr id="87" name="Grafik 102">
              <a:extLst>
                <a:ext uri="{FF2B5EF4-FFF2-40B4-BE49-F238E27FC236}">
                  <a16:creationId xmlns:a16="http://schemas.microsoft.com/office/drawing/2014/main" id="{1098C3AA-6F98-422F-89F4-73BE927835F8}"/>
                </a:ext>
              </a:extLst>
            </p:cNvPr>
            <p:cNvSpPr/>
            <p:nvPr/>
          </p:nvSpPr>
          <p:spPr>
            <a:xfrm>
              <a:off x="1955145" y="-1509610"/>
              <a:ext cx="860369" cy="858154"/>
            </a:xfrm>
            <a:custGeom>
              <a:avLst/>
              <a:gdLst>
                <a:gd name="connsiteX0" fmla="*/ 592127 w 860369"/>
                <a:gd name="connsiteY0" fmla="*/ 856191 h 858154"/>
                <a:gd name="connsiteX1" fmla="*/ 412796 w 860369"/>
                <a:gd name="connsiteY1" fmla="*/ 847149 h 858154"/>
                <a:gd name="connsiteX2" fmla="*/ 127475 w 860369"/>
                <a:gd name="connsiteY2" fmla="*/ 856191 h 858154"/>
                <a:gd name="connsiteX3" fmla="*/ 57651 w 860369"/>
                <a:gd name="connsiteY3" fmla="*/ 852675 h 858154"/>
                <a:gd name="connsiteX4" fmla="*/ 7921 w 860369"/>
                <a:gd name="connsiteY4" fmla="*/ 810479 h 858154"/>
                <a:gd name="connsiteX5" fmla="*/ 7921 w 860369"/>
                <a:gd name="connsiteY5" fmla="*/ 347838 h 858154"/>
                <a:gd name="connsiteX6" fmla="*/ 22991 w 860369"/>
                <a:gd name="connsiteY6" fmla="*/ 17810 h 858154"/>
                <a:gd name="connsiteX7" fmla="*/ 366582 w 860369"/>
                <a:gd name="connsiteY7" fmla="*/ 17810 h 858154"/>
                <a:gd name="connsiteX8" fmla="*/ 746341 w 860369"/>
                <a:gd name="connsiteY8" fmla="*/ 2740 h 858154"/>
                <a:gd name="connsiteX9" fmla="*/ 839272 w 860369"/>
                <a:gd name="connsiteY9" fmla="*/ 79596 h 858154"/>
                <a:gd name="connsiteX10" fmla="*/ 847811 w 860369"/>
                <a:gd name="connsiteY10" fmla="*/ 368433 h 858154"/>
                <a:gd name="connsiteX11" fmla="*/ 847811 w 860369"/>
                <a:gd name="connsiteY11" fmla="*/ 696954 h 858154"/>
                <a:gd name="connsiteX12" fmla="*/ 860370 w 860369"/>
                <a:gd name="connsiteY12" fmla="*/ 816507 h 858154"/>
                <a:gd name="connsiteX13" fmla="*/ 796072 w 860369"/>
                <a:gd name="connsiteY13" fmla="*/ 846145 h 858154"/>
                <a:gd name="connsiteX14" fmla="*/ 592127 w 860369"/>
                <a:gd name="connsiteY14" fmla="*/ 856191 h 85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0369" h="858154">
                  <a:moveTo>
                    <a:pt x="592127" y="856191"/>
                  </a:moveTo>
                  <a:cubicBezTo>
                    <a:pt x="528834" y="863726"/>
                    <a:pt x="439420" y="847149"/>
                    <a:pt x="412796" y="847149"/>
                  </a:cubicBezTo>
                  <a:cubicBezTo>
                    <a:pt x="386173" y="847149"/>
                    <a:pt x="142545" y="856191"/>
                    <a:pt x="127475" y="856191"/>
                  </a:cubicBezTo>
                  <a:cubicBezTo>
                    <a:pt x="112405" y="856191"/>
                    <a:pt x="89298" y="849159"/>
                    <a:pt x="57651" y="852675"/>
                  </a:cubicBezTo>
                  <a:cubicBezTo>
                    <a:pt x="26005" y="856191"/>
                    <a:pt x="6414" y="847149"/>
                    <a:pt x="7921" y="810479"/>
                  </a:cubicBezTo>
                  <a:cubicBezTo>
                    <a:pt x="9428" y="773810"/>
                    <a:pt x="14451" y="399075"/>
                    <a:pt x="7921" y="347838"/>
                  </a:cubicBezTo>
                  <a:cubicBezTo>
                    <a:pt x="1391" y="296600"/>
                    <a:pt x="-11670" y="32879"/>
                    <a:pt x="22991" y="17810"/>
                  </a:cubicBezTo>
                  <a:cubicBezTo>
                    <a:pt x="57651" y="2740"/>
                    <a:pt x="238489" y="32879"/>
                    <a:pt x="366582" y="17810"/>
                  </a:cubicBezTo>
                  <a:cubicBezTo>
                    <a:pt x="494676" y="2740"/>
                    <a:pt x="673504" y="-4293"/>
                    <a:pt x="746341" y="2740"/>
                  </a:cubicBezTo>
                  <a:cubicBezTo>
                    <a:pt x="819179" y="9772"/>
                    <a:pt x="847309" y="-6804"/>
                    <a:pt x="839272" y="79596"/>
                  </a:cubicBezTo>
                  <a:cubicBezTo>
                    <a:pt x="840779" y="169010"/>
                    <a:pt x="845802" y="335279"/>
                    <a:pt x="847811" y="368433"/>
                  </a:cubicBezTo>
                  <a:cubicBezTo>
                    <a:pt x="849821" y="401586"/>
                    <a:pt x="849318" y="658777"/>
                    <a:pt x="847811" y="696954"/>
                  </a:cubicBezTo>
                  <a:cubicBezTo>
                    <a:pt x="846305" y="735131"/>
                    <a:pt x="860370" y="802945"/>
                    <a:pt x="860370" y="816507"/>
                  </a:cubicBezTo>
                  <a:cubicBezTo>
                    <a:pt x="860370" y="830070"/>
                    <a:pt x="827718" y="844638"/>
                    <a:pt x="796072" y="846145"/>
                  </a:cubicBezTo>
                  <a:cubicBezTo>
                    <a:pt x="764425" y="846647"/>
                    <a:pt x="592127" y="856191"/>
                    <a:pt x="592127" y="856191"/>
                  </a:cubicBezTo>
                  <a:close/>
                </a:path>
              </a:pathLst>
            </a:custGeom>
            <a:solidFill>
              <a:schemeClr val="accent6"/>
            </a:solidFill>
            <a:ln w="49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pic>
          <p:nvPicPr>
            <p:cNvPr id="92" name="Grafik 91">
              <a:extLst>
                <a:ext uri="{FF2B5EF4-FFF2-40B4-BE49-F238E27FC236}">
                  <a16:creationId xmlns:a16="http://schemas.microsoft.com/office/drawing/2014/main" id="{F3B72190-A603-4511-8A37-BA67B8D714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909" t="12688" r="27195" b="12127"/>
            <a:stretch/>
          </p:blipFill>
          <p:spPr>
            <a:xfrm>
              <a:off x="2135699" y="-1398625"/>
              <a:ext cx="476250" cy="672414"/>
            </a:xfrm>
            <a:prstGeom prst="rect">
              <a:avLst/>
            </a:prstGeom>
          </p:spPr>
        </p:pic>
      </p:grpSp>
      <p:sp>
        <p:nvSpPr>
          <p:cNvPr id="60" name="Rechteck: eine Ecke abgeschnitten 59">
            <a:extLst>
              <a:ext uri="{FF2B5EF4-FFF2-40B4-BE49-F238E27FC236}">
                <a16:creationId xmlns:a16="http://schemas.microsoft.com/office/drawing/2014/main" id="{4DDF9DAE-0E4B-42BF-95E1-81372ECF2A4F}"/>
              </a:ext>
            </a:extLst>
          </p:cNvPr>
          <p:cNvSpPr/>
          <p:nvPr/>
        </p:nvSpPr>
        <p:spPr>
          <a:xfrm flipH="1">
            <a:off x="3664031" y="4047377"/>
            <a:ext cx="6348074" cy="72000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: eine Ecke abgeschnitten 62">
            <a:extLst>
              <a:ext uri="{FF2B5EF4-FFF2-40B4-BE49-F238E27FC236}">
                <a16:creationId xmlns:a16="http://schemas.microsoft.com/office/drawing/2014/main" id="{C448FFE5-DDE6-48A7-8DC1-A9C157D06978}"/>
              </a:ext>
            </a:extLst>
          </p:cNvPr>
          <p:cNvSpPr/>
          <p:nvPr/>
        </p:nvSpPr>
        <p:spPr>
          <a:xfrm flipH="1">
            <a:off x="3664032" y="3045778"/>
            <a:ext cx="6348072" cy="72000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Rechteck: eine Ecke abgeschnitten 70">
            <a:extLst>
              <a:ext uri="{FF2B5EF4-FFF2-40B4-BE49-F238E27FC236}">
                <a16:creationId xmlns:a16="http://schemas.microsoft.com/office/drawing/2014/main" id="{589F337C-BE4A-4B87-BC86-C6DD700B922C}"/>
              </a:ext>
            </a:extLst>
          </p:cNvPr>
          <p:cNvSpPr/>
          <p:nvPr/>
        </p:nvSpPr>
        <p:spPr>
          <a:xfrm flipH="1">
            <a:off x="3695232" y="5048975"/>
            <a:ext cx="6316870" cy="72000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1E4E4FC0-AA59-4496-8080-1150550403AD}"/>
              </a:ext>
            </a:extLst>
          </p:cNvPr>
          <p:cNvGrpSpPr>
            <a:grpSpLocks noChangeAspect="1"/>
          </p:cNvGrpSpPr>
          <p:nvPr/>
        </p:nvGrpSpPr>
        <p:grpSpPr>
          <a:xfrm>
            <a:off x="3287193" y="4923286"/>
            <a:ext cx="661658" cy="659954"/>
            <a:chOff x="5460720" y="-1490098"/>
            <a:chExt cx="860369" cy="858154"/>
          </a:xfrm>
        </p:grpSpPr>
        <p:sp>
          <p:nvSpPr>
            <p:cNvPr id="51" name="Grafik 108">
              <a:extLst>
                <a:ext uri="{FF2B5EF4-FFF2-40B4-BE49-F238E27FC236}">
                  <a16:creationId xmlns:a16="http://schemas.microsoft.com/office/drawing/2014/main" id="{EBC4A255-F956-4B4F-B651-724EEE9153E3}"/>
                </a:ext>
              </a:extLst>
            </p:cNvPr>
            <p:cNvSpPr/>
            <p:nvPr/>
          </p:nvSpPr>
          <p:spPr>
            <a:xfrm>
              <a:off x="5460720" y="-1490098"/>
              <a:ext cx="860369" cy="858154"/>
            </a:xfrm>
            <a:custGeom>
              <a:avLst/>
              <a:gdLst>
                <a:gd name="connsiteX0" fmla="*/ 592127 w 860369"/>
                <a:gd name="connsiteY0" fmla="*/ 856191 h 858154"/>
                <a:gd name="connsiteX1" fmla="*/ 412796 w 860369"/>
                <a:gd name="connsiteY1" fmla="*/ 847149 h 858154"/>
                <a:gd name="connsiteX2" fmla="*/ 127475 w 860369"/>
                <a:gd name="connsiteY2" fmla="*/ 856191 h 858154"/>
                <a:gd name="connsiteX3" fmla="*/ 57651 w 860369"/>
                <a:gd name="connsiteY3" fmla="*/ 852675 h 858154"/>
                <a:gd name="connsiteX4" fmla="*/ 7921 w 860369"/>
                <a:gd name="connsiteY4" fmla="*/ 810479 h 858154"/>
                <a:gd name="connsiteX5" fmla="*/ 7921 w 860369"/>
                <a:gd name="connsiteY5" fmla="*/ 347838 h 858154"/>
                <a:gd name="connsiteX6" fmla="*/ 22991 w 860369"/>
                <a:gd name="connsiteY6" fmla="*/ 17810 h 858154"/>
                <a:gd name="connsiteX7" fmla="*/ 366582 w 860369"/>
                <a:gd name="connsiteY7" fmla="*/ 17810 h 858154"/>
                <a:gd name="connsiteX8" fmla="*/ 746341 w 860369"/>
                <a:gd name="connsiteY8" fmla="*/ 2740 h 858154"/>
                <a:gd name="connsiteX9" fmla="*/ 839272 w 860369"/>
                <a:gd name="connsiteY9" fmla="*/ 79596 h 858154"/>
                <a:gd name="connsiteX10" fmla="*/ 847811 w 860369"/>
                <a:gd name="connsiteY10" fmla="*/ 368433 h 858154"/>
                <a:gd name="connsiteX11" fmla="*/ 847811 w 860369"/>
                <a:gd name="connsiteY11" fmla="*/ 696954 h 858154"/>
                <a:gd name="connsiteX12" fmla="*/ 860370 w 860369"/>
                <a:gd name="connsiteY12" fmla="*/ 816507 h 858154"/>
                <a:gd name="connsiteX13" fmla="*/ 796072 w 860369"/>
                <a:gd name="connsiteY13" fmla="*/ 846145 h 858154"/>
                <a:gd name="connsiteX14" fmla="*/ 592127 w 860369"/>
                <a:gd name="connsiteY14" fmla="*/ 856191 h 85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0369" h="858154">
                  <a:moveTo>
                    <a:pt x="592127" y="856191"/>
                  </a:moveTo>
                  <a:cubicBezTo>
                    <a:pt x="528834" y="863726"/>
                    <a:pt x="439420" y="847149"/>
                    <a:pt x="412796" y="847149"/>
                  </a:cubicBezTo>
                  <a:cubicBezTo>
                    <a:pt x="386173" y="847149"/>
                    <a:pt x="142545" y="856191"/>
                    <a:pt x="127475" y="856191"/>
                  </a:cubicBezTo>
                  <a:cubicBezTo>
                    <a:pt x="112405" y="856191"/>
                    <a:pt x="89298" y="849159"/>
                    <a:pt x="57651" y="852675"/>
                  </a:cubicBezTo>
                  <a:cubicBezTo>
                    <a:pt x="26005" y="856191"/>
                    <a:pt x="6414" y="847149"/>
                    <a:pt x="7921" y="810479"/>
                  </a:cubicBezTo>
                  <a:cubicBezTo>
                    <a:pt x="9428" y="773810"/>
                    <a:pt x="14451" y="399075"/>
                    <a:pt x="7921" y="347838"/>
                  </a:cubicBezTo>
                  <a:cubicBezTo>
                    <a:pt x="1391" y="296600"/>
                    <a:pt x="-11670" y="32879"/>
                    <a:pt x="22991" y="17810"/>
                  </a:cubicBezTo>
                  <a:cubicBezTo>
                    <a:pt x="57651" y="2740"/>
                    <a:pt x="238489" y="32879"/>
                    <a:pt x="366582" y="17810"/>
                  </a:cubicBezTo>
                  <a:cubicBezTo>
                    <a:pt x="494676" y="2740"/>
                    <a:pt x="673504" y="-4293"/>
                    <a:pt x="746341" y="2740"/>
                  </a:cubicBezTo>
                  <a:cubicBezTo>
                    <a:pt x="819179" y="9772"/>
                    <a:pt x="847309" y="-6804"/>
                    <a:pt x="839272" y="79596"/>
                  </a:cubicBezTo>
                  <a:cubicBezTo>
                    <a:pt x="840779" y="169010"/>
                    <a:pt x="845802" y="335279"/>
                    <a:pt x="847811" y="368433"/>
                  </a:cubicBezTo>
                  <a:cubicBezTo>
                    <a:pt x="849821" y="401586"/>
                    <a:pt x="849318" y="658777"/>
                    <a:pt x="847811" y="696954"/>
                  </a:cubicBezTo>
                  <a:cubicBezTo>
                    <a:pt x="846305" y="735131"/>
                    <a:pt x="860370" y="802945"/>
                    <a:pt x="860370" y="816507"/>
                  </a:cubicBezTo>
                  <a:cubicBezTo>
                    <a:pt x="860370" y="830070"/>
                    <a:pt x="827718" y="844638"/>
                    <a:pt x="796072" y="846145"/>
                  </a:cubicBezTo>
                  <a:cubicBezTo>
                    <a:pt x="764425" y="846647"/>
                    <a:pt x="592127" y="856191"/>
                    <a:pt x="592127" y="856191"/>
                  </a:cubicBezTo>
                  <a:close/>
                </a:path>
              </a:pathLst>
            </a:custGeom>
            <a:solidFill>
              <a:schemeClr val="accent6"/>
            </a:solidFill>
            <a:ln w="49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pic>
          <p:nvPicPr>
            <p:cNvPr id="52" name="Grafik 51" descr="Ein Bild, das Text, Schild, ClipArt, Erste Hilfe-Kasten enthält.&#10;&#10;Automatisch generierte Beschreibung">
              <a:extLst>
                <a:ext uri="{FF2B5EF4-FFF2-40B4-BE49-F238E27FC236}">
                  <a16:creationId xmlns:a16="http://schemas.microsoft.com/office/drawing/2014/main" id="{D36E0445-605C-4480-BD85-4CA0E7D10A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426" t="12688" r="16326" b="12127"/>
            <a:stretch/>
          </p:blipFill>
          <p:spPr>
            <a:xfrm>
              <a:off x="5607779" y="-1398625"/>
              <a:ext cx="587460" cy="672414"/>
            </a:xfrm>
            <a:prstGeom prst="rect">
              <a:avLst/>
            </a:prstGeom>
          </p:spPr>
        </p:pic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25A33D0-04F6-4C6B-8B89-BA9504B4597D}"/>
              </a:ext>
            </a:extLst>
          </p:cNvPr>
          <p:cNvGrpSpPr>
            <a:grpSpLocks noChangeAspect="1"/>
          </p:cNvGrpSpPr>
          <p:nvPr/>
        </p:nvGrpSpPr>
        <p:grpSpPr>
          <a:xfrm>
            <a:off x="3263091" y="3915652"/>
            <a:ext cx="661658" cy="659954"/>
            <a:chOff x="4314579" y="-1474180"/>
            <a:chExt cx="860369" cy="858154"/>
          </a:xfrm>
        </p:grpSpPr>
        <p:sp>
          <p:nvSpPr>
            <p:cNvPr id="31" name="Grafik 106">
              <a:extLst>
                <a:ext uri="{FF2B5EF4-FFF2-40B4-BE49-F238E27FC236}">
                  <a16:creationId xmlns:a16="http://schemas.microsoft.com/office/drawing/2014/main" id="{2AD6D79E-88E3-474D-B1C7-705CBCC2AC28}"/>
                </a:ext>
              </a:extLst>
            </p:cNvPr>
            <p:cNvSpPr/>
            <p:nvPr/>
          </p:nvSpPr>
          <p:spPr>
            <a:xfrm>
              <a:off x="4314579" y="-1474180"/>
              <a:ext cx="860369" cy="858154"/>
            </a:xfrm>
            <a:custGeom>
              <a:avLst/>
              <a:gdLst>
                <a:gd name="connsiteX0" fmla="*/ 592127 w 860369"/>
                <a:gd name="connsiteY0" fmla="*/ 856191 h 858154"/>
                <a:gd name="connsiteX1" fmla="*/ 412796 w 860369"/>
                <a:gd name="connsiteY1" fmla="*/ 847149 h 858154"/>
                <a:gd name="connsiteX2" fmla="*/ 127475 w 860369"/>
                <a:gd name="connsiteY2" fmla="*/ 856191 h 858154"/>
                <a:gd name="connsiteX3" fmla="*/ 57651 w 860369"/>
                <a:gd name="connsiteY3" fmla="*/ 852675 h 858154"/>
                <a:gd name="connsiteX4" fmla="*/ 7921 w 860369"/>
                <a:gd name="connsiteY4" fmla="*/ 810479 h 858154"/>
                <a:gd name="connsiteX5" fmla="*/ 7921 w 860369"/>
                <a:gd name="connsiteY5" fmla="*/ 347838 h 858154"/>
                <a:gd name="connsiteX6" fmla="*/ 22991 w 860369"/>
                <a:gd name="connsiteY6" fmla="*/ 17810 h 858154"/>
                <a:gd name="connsiteX7" fmla="*/ 366582 w 860369"/>
                <a:gd name="connsiteY7" fmla="*/ 17810 h 858154"/>
                <a:gd name="connsiteX8" fmla="*/ 746341 w 860369"/>
                <a:gd name="connsiteY8" fmla="*/ 2740 h 858154"/>
                <a:gd name="connsiteX9" fmla="*/ 839272 w 860369"/>
                <a:gd name="connsiteY9" fmla="*/ 79596 h 858154"/>
                <a:gd name="connsiteX10" fmla="*/ 847811 w 860369"/>
                <a:gd name="connsiteY10" fmla="*/ 368433 h 858154"/>
                <a:gd name="connsiteX11" fmla="*/ 847811 w 860369"/>
                <a:gd name="connsiteY11" fmla="*/ 696954 h 858154"/>
                <a:gd name="connsiteX12" fmla="*/ 860370 w 860369"/>
                <a:gd name="connsiteY12" fmla="*/ 816507 h 858154"/>
                <a:gd name="connsiteX13" fmla="*/ 796072 w 860369"/>
                <a:gd name="connsiteY13" fmla="*/ 846145 h 858154"/>
                <a:gd name="connsiteX14" fmla="*/ 592127 w 860369"/>
                <a:gd name="connsiteY14" fmla="*/ 856191 h 85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0369" h="858154">
                  <a:moveTo>
                    <a:pt x="592127" y="856191"/>
                  </a:moveTo>
                  <a:cubicBezTo>
                    <a:pt x="528834" y="863726"/>
                    <a:pt x="439420" y="847149"/>
                    <a:pt x="412796" y="847149"/>
                  </a:cubicBezTo>
                  <a:cubicBezTo>
                    <a:pt x="386173" y="847149"/>
                    <a:pt x="142545" y="856191"/>
                    <a:pt x="127475" y="856191"/>
                  </a:cubicBezTo>
                  <a:cubicBezTo>
                    <a:pt x="112405" y="856191"/>
                    <a:pt x="89298" y="849159"/>
                    <a:pt x="57651" y="852675"/>
                  </a:cubicBezTo>
                  <a:cubicBezTo>
                    <a:pt x="26005" y="856191"/>
                    <a:pt x="6414" y="847149"/>
                    <a:pt x="7921" y="810479"/>
                  </a:cubicBezTo>
                  <a:cubicBezTo>
                    <a:pt x="9428" y="773810"/>
                    <a:pt x="14451" y="399075"/>
                    <a:pt x="7921" y="347838"/>
                  </a:cubicBezTo>
                  <a:cubicBezTo>
                    <a:pt x="1391" y="296600"/>
                    <a:pt x="-11670" y="32879"/>
                    <a:pt x="22991" y="17810"/>
                  </a:cubicBezTo>
                  <a:cubicBezTo>
                    <a:pt x="57651" y="2740"/>
                    <a:pt x="238489" y="32879"/>
                    <a:pt x="366582" y="17810"/>
                  </a:cubicBezTo>
                  <a:cubicBezTo>
                    <a:pt x="494676" y="2740"/>
                    <a:pt x="673504" y="-4293"/>
                    <a:pt x="746341" y="2740"/>
                  </a:cubicBezTo>
                  <a:cubicBezTo>
                    <a:pt x="819179" y="9772"/>
                    <a:pt x="847309" y="-6804"/>
                    <a:pt x="839272" y="79596"/>
                  </a:cubicBezTo>
                  <a:cubicBezTo>
                    <a:pt x="840779" y="169010"/>
                    <a:pt x="845802" y="335279"/>
                    <a:pt x="847811" y="368433"/>
                  </a:cubicBezTo>
                  <a:cubicBezTo>
                    <a:pt x="849821" y="401586"/>
                    <a:pt x="849318" y="658777"/>
                    <a:pt x="847811" y="696954"/>
                  </a:cubicBezTo>
                  <a:cubicBezTo>
                    <a:pt x="846305" y="735131"/>
                    <a:pt x="860370" y="802945"/>
                    <a:pt x="860370" y="816507"/>
                  </a:cubicBezTo>
                  <a:cubicBezTo>
                    <a:pt x="860370" y="830070"/>
                    <a:pt x="827718" y="844638"/>
                    <a:pt x="796072" y="846145"/>
                  </a:cubicBezTo>
                  <a:cubicBezTo>
                    <a:pt x="764425" y="846647"/>
                    <a:pt x="592127" y="856191"/>
                    <a:pt x="592127" y="856191"/>
                  </a:cubicBezTo>
                  <a:close/>
                </a:path>
              </a:pathLst>
            </a:custGeom>
            <a:solidFill>
              <a:schemeClr val="accent6"/>
            </a:solidFill>
            <a:ln w="49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7A717CEE-1B40-483B-A69E-67366CF62C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020" t="12688" r="20657" b="9165"/>
            <a:stretch/>
          </p:blipFill>
          <p:spPr>
            <a:xfrm>
              <a:off x="4469323" y="-1398625"/>
              <a:ext cx="525108" cy="698907"/>
            </a:xfrm>
            <a:prstGeom prst="rect">
              <a:avLst/>
            </a:prstGeom>
          </p:spPr>
        </p:pic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D4E1AA4A-507C-4ADB-8E3E-332285349985}"/>
              </a:ext>
            </a:extLst>
          </p:cNvPr>
          <p:cNvGrpSpPr>
            <a:grpSpLocks noChangeAspect="1"/>
          </p:cNvGrpSpPr>
          <p:nvPr/>
        </p:nvGrpSpPr>
        <p:grpSpPr>
          <a:xfrm>
            <a:off x="3264220" y="2908017"/>
            <a:ext cx="661658" cy="659954"/>
            <a:chOff x="3164538" y="-1509610"/>
            <a:chExt cx="860369" cy="858154"/>
          </a:xfrm>
        </p:grpSpPr>
        <p:sp>
          <p:nvSpPr>
            <p:cNvPr id="34" name="Grafik 104">
              <a:extLst>
                <a:ext uri="{FF2B5EF4-FFF2-40B4-BE49-F238E27FC236}">
                  <a16:creationId xmlns:a16="http://schemas.microsoft.com/office/drawing/2014/main" id="{2910A40D-7056-465A-8148-167287BD3189}"/>
                </a:ext>
              </a:extLst>
            </p:cNvPr>
            <p:cNvSpPr/>
            <p:nvPr/>
          </p:nvSpPr>
          <p:spPr>
            <a:xfrm>
              <a:off x="3164538" y="-1509610"/>
              <a:ext cx="860369" cy="858154"/>
            </a:xfrm>
            <a:custGeom>
              <a:avLst/>
              <a:gdLst>
                <a:gd name="connsiteX0" fmla="*/ 592127 w 860369"/>
                <a:gd name="connsiteY0" fmla="*/ 856191 h 858154"/>
                <a:gd name="connsiteX1" fmla="*/ 412796 w 860369"/>
                <a:gd name="connsiteY1" fmla="*/ 847149 h 858154"/>
                <a:gd name="connsiteX2" fmla="*/ 127475 w 860369"/>
                <a:gd name="connsiteY2" fmla="*/ 856191 h 858154"/>
                <a:gd name="connsiteX3" fmla="*/ 57651 w 860369"/>
                <a:gd name="connsiteY3" fmla="*/ 852675 h 858154"/>
                <a:gd name="connsiteX4" fmla="*/ 7921 w 860369"/>
                <a:gd name="connsiteY4" fmla="*/ 810479 h 858154"/>
                <a:gd name="connsiteX5" fmla="*/ 7921 w 860369"/>
                <a:gd name="connsiteY5" fmla="*/ 347838 h 858154"/>
                <a:gd name="connsiteX6" fmla="*/ 22991 w 860369"/>
                <a:gd name="connsiteY6" fmla="*/ 17810 h 858154"/>
                <a:gd name="connsiteX7" fmla="*/ 366582 w 860369"/>
                <a:gd name="connsiteY7" fmla="*/ 17810 h 858154"/>
                <a:gd name="connsiteX8" fmla="*/ 746341 w 860369"/>
                <a:gd name="connsiteY8" fmla="*/ 2740 h 858154"/>
                <a:gd name="connsiteX9" fmla="*/ 839272 w 860369"/>
                <a:gd name="connsiteY9" fmla="*/ 79596 h 858154"/>
                <a:gd name="connsiteX10" fmla="*/ 847811 w 860369"/>
                <a:gd name="connsiteY10" fmla="*/ 368433 h 858154"/>
                <a:gd name="connsiteX11" fmla="*/ 847811 w 860369"/>
                <a:gd name="connsiteY11" fmla="*/ 696954 h 858154"/>
                <a:gd name="connsiteX12" fmla="*/ 860370 w 860369"/>
                <a:gd name="connsiteY12" fmla="*/ 816507 h 858154"/>
                <a:gd name="connsiteX13" fmla="*/ 796072 w 860369"/>
                <a:gd name="connsiteY13" fmla="*/ 846145 h 858154"/>
                <a:gd name="connsiteX14" fmla="*/ 592127 w 860369"/>
                <a:gd name="connsiteY14" fmla="*/ 856191 h 85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0369" h="858154">
                  <a:moveTo>
                    <a:pt x="592127" y="856191"/>
                  </a:moveTo>
                  <a:cubicBezTo>
                    <a:pt x="528834" y="863726"/>
                    <a:pt x="439420" y="847149"/>
                    <a:pt x="412796" y="847149"/>
                  </a:cubicBezTo>
                  <a:cubicBezTo>
                    <a:pt x="386173" y="847149"/>
                    <a:pt x="142545" y="856191"/>
                    <a:pt x="127475" y="856191"/>
                  </a:cubicBezTo>
                  <a:cubicBezTo>
                    <a:pt x="112405" y="856191"/>
                    <a:pt x="89298" y="849159"/>
                    <a:pt x="57651" y="852675"/>
                  </a:cubicBezTo>
                  <a:cubicBezTo>
                    <a:pt x="26005" y="856191"/>
                    <a:pt x="6414" y="847149"/>
                    <a:pt x="7921" y="810479"/>
                  </a:cubicBezTo>
                  <a:cubicBezTo>
                    <a:pt x="9428" y="773810"/>
                    <a:pt x="14451" y="399075"/>
                    <a:pt x="7921" y="347838"/>
                  </a:cubicBezTo>
                  <a:cubicBezTo>
                    <a:pt x="1391" y="296600"/>
                    <a:pt x="-11670" y="32879"/>
                    <a:pt x="22991" y="17810"/>
                  </a:cubicBezTo>
                  <a:cubicBezTo>
                    <a:pt x="57651" y="2740"/>
                    <a:pt x="238489" y="32879"/>
                    <a:pt x="366582" y="17810"/>
                  </a:cubicBezTo>
                  <a:cubicBezTo>
                    <a:pt x="494676" y="2740"/>
                    <a:pt x="673504" y="-4293"/>
                    <a:pt x="746341" y="2740"/>
                  </a:cubicBezTo>
                  <a:cubicBezTo>
                    <a:pt x="819179" y="9772"/>
                    <a:pt x="847309" y="-6804"/>
                    <a:pt x="839272" y="79596"/>
                  </a:cubicBezTo>
                  <a:cubicBezTo>
                    <a:pt x="840779" y="169010"/>
                    <a:pt x="845802" y="335279"/>
                    <a:pt x="847811" y="368433"/>
                  </a:cubicBezTo>
                  <a:cubicBezTo>
                    <a:pt x="849821" y="401586"/>
                    <a:pt x="849318" y="658777"/>
                    <a:pt x="847811" y="696954"/>
                  </a:cubicBezTo>
                  <a:cubicBezTo>
                    <a:pt x="846305" y="735131"/>
                    <a:pt x="860370" y="802945"/>
                    <a:pt x="860370" y="816507"/>
                  </a:cubicBezTo>
                  <a:cubicBezTo>
                    <a:pt x="860370" y="830070"/>
                    <a:pt x="827718" y="844638"/>
                    <a:pt x="796072" y="846145"/>
                  </a:cubicBezTo>
                  <a:cubicBezTo>
                    <a:pt x="764425" y="846647"/>
                    <a:pt x="592127" y="856191"/>
                    <a:pt x="592127" y="856191"/>
                  </a:cubicBezTo>
                  <a:close/>
                </a:path>
              </a:pathLst>
            </a:custGeom>
            <a:solidFill>
              <a:schemeClr val="accent6"/>
            </a:solidFill>
            <a:ln w="49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0FFFFC30-2F8F-4753-A27A-E7569209F6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052" t="12688" r="14689" b="14243"/>
            <a:stretch/>
          </p:blipFill>
          <p:spPr>
            <a:xfrm>
              <a:off x="3316798" y="-1398625"/>
              <a:ext cx="569559" cy="653495"/>
            </a:xfrm>
            <a:prstGeom prst="rect">
              <a:avLst/>
            </a:prstGeom>
          </p:spPr>
        </p:pic>
      </p:grp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8E21285E-0D6D-4098-AABE-B9C11A6506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8" y="324797"/>
            <a:ext cx="2191859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00257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3358E4-6D13-4760-8396-6AA8ED8DF3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: eine Ecke abgeschnitten 4">
            <a:extLst>
              <a:ext uri="{FF2B5EF4-FFF2-40B4-BE49-F238E27FC236}">
                <a16:creationId xmlns:a16="http://schemas.microsoft.com/office/drawing/2014/main" id="{DA8FF727-1DB4-4000-9FAA-D3C87B133AEB}"/>
              </a:ext>
            </a:extLst>
          </p:cNvPr>
          <p:cNvSpPr/>
          <p:nvPr/>
        </p:nvSpPr>
        <p:spPr>
          <a:xfrm flipH="1">
            <a:off x="758846" y="2044510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Grafik 102">
            <a:extLst>
              <a:ext uri="{FF2B5EF4-FFF2-40B4-BE49-F238E27FC236}">
                <a16:creationId xmlns:a16="http://schemas.microsoft.com/office/drawing/2014/main" id="{05DDF883-5666-4125-81EB-0C65DD363966}"/>
              </a:ext>
            </a:extLst>
          </p:cNvPr>
          <p:cNvSpPr/>
          <p:nvPr/>
        </p:nvSpPr>
        <p:spPr>
          <a:xfrm>
            <a:off x="362095" y="1909956"/>
            <a:ext cx="652392" cy="650712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Rechteck: eine Ecke abgeschnitten 9">
            <a:extLst>
              <a:ext uri="{FF2B5EF4-FFF2-40B4-BE49-F238E27FC236}">
                <a16:creationId xmlns:a16="http://schemas.microsoft.com/office/drawing/2014/main" id="{5F3C9535-3F26-4405-9484-800361CF92A6}"/>
              </a:ext>
            </a:extLst>
          </p:cNvPr>
          <p:cNvSpPr/>
          <p:nvPr/>
        </p:nvSpPr>
        <p:spPr>
          <a:xfrm flipH="1">
            <a:off x="758846" y="4715962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Grafik 106">
            <a:extLst>
              <a:ext uri="{FF2B5EF4-FFF2-40B4-BE49-F238E27FC236}">
                <a16:creationId xmlns:a16="http://schemas.microsoft.com/office/drawing/2014/main" id="{A2A9E648-B7C1-461D-8826-585FEA0B7E99}"/>
              </a:ext>
            </a:extLst>
          </p:cNvPr>
          <p:cNvSpPr/>
          <p:nvPr/>
        </p:nvSpPr>
        <p:spPr>
          <a:xfrm>
            <a:off x="349929" y="4555408"/>
            <a:ext cx="661658" cy="659954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" name="Rechteck: eine Ecke abgeschnitten 14">
            <a:extLst>
              <a:ext uri="{FF2B5EF4-FFF2-40B4-BE49-F238E27FC236}">
                <a16:creationId xmlns:a16="http://schemas.microsoft.com/office/drawing/2014/main" id="{34338279-BEB6-48BB-972B-837976979622}"/>
              </a:ext>
            </a:extLst>
          </p:cNvPr>
          <p:cNvSpPr/>
          <p:nvPr/>
        </p:nvSpPr>
        <p:spPr>
          <a:xfrm flipH="1">
            <a:off x="758846" y="3389141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Grafik 104">
            <a:extLst>
              <a:ext uri="{FF2B5EF4-FFF2-40B4-BE49-F238E27FC236}">
                <a16:creationId xmlns:a16="http://schemas.microsoft.com/office/drawing/2014/main" id="{7ED1B671-C4B5-4DAE-AF32-1F29324DFF0C}"/>
              </a:ext>
            </a:extLst>
          </p:cNvPr>
          <p:cNvSpPr/>
          <p:nvPr/>
        </p:nvSpPr>
        <p:spPr>
          <a:xfrm>
            <a:off x="359034" y="3228061"/>
            <a:ext cx="661658" cy="659954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Rechteck: eine Ecke abgeschnitten 19">
            <a:extLst>
              <a:ext uri="{FF2B5EF4-FFF2-40B4-BE49-F238E27FC236}">
                <a16:creationId xmlns:a16="http://schemas.microsoft.com/office/drawing/2014/main" id="{833FB6A1-181B-4402-8817-1732B3F98794}"/>
              </a:ext>
            </a:extLst>
          </p:cNvPr>
          <p:cNvSpPr/>
          <p:nvPr/>
        </p:nvSpPr>
        <p:spPr>
          <a:xfrm flipH="1">
            <a:off x="6504039" y="2043581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: eine Ecke abgeschnitten 21">
            <a:extLst>
              <a:ext uri="{FF2B5EF4-FFF2-40B4-BE49-F238E27FC236}">
                <a16:creationId xmlns:a16="http://schemas.microsoft.com/office/drawing/2014/main" id="{E34D7831-64F6-4B1D-ABCF-B060EE15534F}"/>
              </a:ext>
            </a:extLst>
          </p:cNvPr>
          <p:cNvSpPr/>
          <p:nvPr/>
        </p:nvSpPr>
        <p:spPr>
          <a:xfrm flipH="1">
            <a:off x="6504039" y="3389141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rafik 108">
            <a:extLst>
              <a:ext uri="{FF2B5EF4-FFF2-40B4-BE49-F238E27FC236}">
                <a16:creationId xmlns:a16="http://schemas.microsoft.com/office/drawing/2014/main" id="{8F59019C-2892-4690-9949-901961BFDFD9}"/>
              </a:ext>
            </a:extLst>
          </p:cNvPr>
          <p:cNvSpPr/>
          <p:nvPr/>
        </p:nvSpPr>
        <p:spPr>
          <a:xfrm>
            <a:off x="6096000" y="1909956"/>
            <a:ext cx="661658" cy="659954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" name="Grafik 110">
            <a:extLst>
              <a:ext uri="{FF2B5EF4-FFF2-40B4-BE49-F238E27FC236}">
                <a16:creationId xmlns:a16="http://schemas.microsoft.com/office/drawing/2014/main" id="{3D9F86DC-3AB5-4FA0-A28F-68C425F90153}"/>
              </a:ext>
            </a:extLst>
          </p:cNvPr>
          <p:cNvSpPr/>
          <p:nvPr/>
        </p:nvSpPr>
        <p:spPr>
          <a:xfrm>
            <a:off x="6098152" y="3226694"/>
            <a:ext cx="673663" cy="671929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Rechteck: eine Ecke abgeschnitten 29">
            <a:extLst>
              <a:ext uri="{FF2B5EF4-FFF2-40B4-BE49-F238E27FC236}">
                <a16:creationId xmlns:a16="http://schemas.microsoft.com/office/drawing/2014/main" id="{63DF7377-20CB-4428-B149-18A9B09A84E9}"/>
              </a:ext>
            </a:extLst>
          </p:cNvPr>
          <p:cNvSpPr/>
          <p:nvPr/>
        </p:nvSpPr>
        <p:spPr>
          <a:xfrm flipH="1">
            <a:off x="6504917" y="4715962"/>
            <a:ext cx="4929113" cy="104205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Grafik 112">
            <a:extLst>
              <a:ext uri="{FF2B5EF4-FFF2-40B4-BE49-F238E27FC236}">
                <a16:creationId xmlns:a16="http://schemas.microsoft.com/office/drawing/2014/main" id="{759A74EE-F03A-4F96-AEDB-0CAB70C52A63}"/>
              </a:ext>
            </a:extLst>
          </p:cNvPr>
          <p:cNvSpPr>
            <a:spLocks noChangeAspect="1"/>
          </p:cNvSpPr>
          <p:nvPr/>
        </p:nvSpPr>
        <p:spPr>
          <a:xfrm>
            <a:off x="6090603" y="4555408"/>
            <a:ext cx="673663" cy="659954"/>
          </a:xfrm>
          <a:custGeom>
            <a:avLst/>
            <a:gdLst>
              <a:gd name="connsiteX0" fmla="*/ 592127 w 860369"/>
              <a:gd name="connsiteY0" fmla="*/ 856191 h 858154"/>
              <a:gd name="connsiteX1" fmla="*/ 412796 w 860369"/>
              <a:gd name="connsiteY1" fmla="*/ 847149 h 858154"/>
              <a:gd name="connsiteX2" fmla="*/ 127475 w 860369"/>
              <a:gd name="connsiteY2" fmla="*/ 856191 h 858154"/>
              <a:gd name="connsiteX3" fmla="*/ 57651 w 860369"/>
              <a:gd name="connsiteY3" fmla="*/ 852675 h 858154"/>
              <a:gd name="connsiteX4" fmla="*/ 7921 w 860369"/>
              <a:gd name="connsiteY4" fmla="*/ 810479 h 858154"/>
              <a:gd name="connsiteX5" fmla="*/ 7921 w 860369"/>
              <a:gd name="connsiteY5" fmla="*/ 347838 h 858154"/>
              <a:gd name="connsiteX6" fmla="*/ 22991 w 860369"/>
              <a:gd name="connsiteY6" fmla="*/ 17810 h 858154"/>
              <a:gd name="connsiteX7" fmla="*/ 366582 w 860369"/>
              <a:gd name="connsiteY7" fmla="*/ 17810 h 858154"/>
              <a:gd name="connsiteX8" fmla="*/ 746341 w 860369"/>
              <a:gd name="connsiteY8" fmla="*/ 2740 h 858154"/>
              <a:gd name="connsiteX9" fmla="*/ 839272 w 860369"/>
              <a:gd name="connsiteY9" fmla="*/ 79596 h 858154"/>
              <a:gd name="connsiteX10" fmla="*/ 847811 w 860369"/>
              <a:gd name="connsiteY10" fmla="*/ 368433 h 858154"/>
              <a:gd name="connsiteX11" fmla="*/ 847811 w 860369"/>
              <a:gd name="connsiteY11" fmla="*/ 696954 h 858154"/>
              <a:gd name="connsiteX12" fmla="*/ 860370 w 860369"/>
              <a:gd name="connsiteY12" fmla="*/ 816507 h 858154"/>
              <a:gd name="connsiteX13" fmla="*/ 796072 w 860369"/>
              <a:gd name="connsiteY13" fmla="*/ 846145 h 858154"/>
              <a:gd name="connsiteX14" fmla="*/ 592127 w 860369"/>
              <a:gd name="connsiteY14" fmla="*/ 856191 h 85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60369" h="858154">
                <a:moveTo>
                  <a:pt x="592127" y="856191"/>
                </a:moveTo>
                <a:cubicBezTo>
                  <a:pt x="528834" y="863726"/>
                  <a:pt x="439420" y="847149"/>
                  <a:pt x="412796" y="847149"/>
                </a:cubicBezTo>
                <a:cubicBezTo>
                  <a:pt x="386173" y="847149"/>
                  <a:pt x="142545" y="856191"/>
                  <a:pt x="127475" y="856191"/>
                </a:cubicBezTo>
                <a:cubicBezTo>
                  <a:pt x="112405" y="856191"/>
                  <a:pt x="89298" y="849159"/>
                  <a:pt x="57651" y="852675"/>
                </a:cubicBezTo>
                <a:cubicBezTo>
                  <a:pt x="26005" y="856191"/>
                  <a:pt x="6414" y="847149"/>
                  <a:pt x="7921" y="810479"/>
                </a:cubicBezTo>
                <a:cubicBezTo>
                  <a:pt x="9428" y="773810"/>
                  <a:pt x="14451" y="399075"/>
                  <a:pt x="7921" y="347838"/>
                </a:cubicBezTo>
                <a:cubicBezTo>
                  <a:pt x="1391" y="296600"/>
                  <a:pt x="-11670" y="32879"/>
                  <a:pt x="22991" y="17810"/>
                </a:cubicBezTo>
                <a:cubicBezTo>
                  <a:pt x="57651" y="2740"/>
                  <a:pt x="238489" y="32879"/>
                  <a:pt x="366582" y="17810"/>
                </a:cubicBezTo>
                <a:cubicBezTo>
                  <a:pt x="494676" y="2740"/>
                  <a:pt x="673504" y="-4293"/>
                  <a:pt x="746341" y="2740"/>
                </a:cubicBezTo>
                <a:cubicBezTo>
                  <a:pt x="819179" y="9772"/>
                  <a:pt x="847309" y="-6804"/>
                  <a:pt x="839272" y="79596"/>
                </a:cubicBezTo>
                <a:cubicBezTo>
                  <a:pt x="840779" y="169010"/>
                  <a:pt x="845802" y="335279"/>
                  <a:pt x="847811" y="368433"/>
                </a:cubicBezTo>
                <a:cubicBezTo>
                  <a:pt x="849821" y="401586"/>
                  <a:pt x="849318" y="658777"/>
                  <a:pt x="847811" y="696954"/>
                </a:cubicBezTo>
                <a:cubicBezTo>
                  <a:pt x="846305" y="735131"/>
                  <a:pt x="860370" y="802945"/>
                  <a:pt x="860370" y="816507"/>
                </a:cubicBezTo>
                <a:cubicBezTo>
                  <a:pt x="860370" y="830070"/>
                  <a:pt x="827718" y="844638"/>
                  <a:pt x="796072" y="846145"/>
                </a:cubicBezTo>
                <a:cubicBezTo>
                  <a:pt x="764425" y="846647"/>
                  <a:pt x="592127" y="856191"/>
                  <a:pt x="592127" y="856191"/>
                </a:cubicBezTo>
                <a:close/>
              </a:path>
            </a:pathLst>
          </a:custGeom>
          <a:solidFill>
            <a:schemeClr val="accent6"/>
          </a:solidFill>
          <a:ln w="4983" cap="flat">
            <a:noFill/>
            <a:prstDash val="solid"/>
            <a:miter/>
          </a:ln>
        </p:spPr>
        <p:txBody>
          <a:bodyPr rtlCol="0" anchor="ctr"/>
          <a:lstStyle/>
          <a:p>
            <a:endParaRPr lang="de-DE" b="1"/>
          </a:p>
        </p:txBody>
      </p:sp>
      <p:pic>
        <p:nvPicPr>
          <p:cNvPr id="33" name="Grafik 32" descr="Potenz mit einfarbiger Füllung">
            <a:extLst>
              <a:ext uri="{FF2B5EF4-FFF2-40B4-BE49-F238E27FC236}">
                <a16:creationId xmlns:a16="http://schemas.microsoft.com/office/drawing/2014/main" id="{4775DA9E-40A5-48D0-A25E-FBF520C770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079" y="2013876"/>
            <a:ext cx="442265" cy="442265"/>
          </a:xfrm>
          <a:prstGeom prst="rect">
            <a:avLst/>
          </a:prstGeom>
        </p:spPr>
      </p:pic>
      <p:pic>
        <p:nvPicPr>
          <p:cNvPr id="35" name="Grafik 34" descr="Aktualisieren mit einfarbiger Füllung">
            <a:extLst>
              <a:ext uri="{FF2B5EF4-FFF2-40B4-BE49-F238E27FC236}">
                <a16:creationId xmlns:a16="http://schemas.microsoft.com/office/drawing/2014/main" id="{67D96A42-9B5A-47F9-B23C-0A3F71B7D6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626" y="3327899"/>
            <a:ext cx="491127" cy="491127"/>
          </a:xfrm>
          <a:prstGeom prst="rect">
            <a:avLst/>
          </a:prstGeom>
        </p:spPr>
      </p:pic>
      <p:pic>
        <p:nvPicPr>
          <p:cNvPr id="40" name="Grafik 39" descr="Gedankenblase mit einfarbiger Füllung">
            <a:extLst>
              <a:ext uri="{FF2B5EF4-FFF2-40B4-BE49-F238E27FC236}">
                <a16:creationId xmlns:a16="http://schemas.microsoft.com/office/drawing/2014/main" id="{142A5EF0-0F00-4289-A0E5-D9BAC66493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0179" y="4636130"/>
            <a:ext cx="505836" cy="505836"/>
          </a:xfrm>
          <a:prstGeom prst="rect">
            <a:avLst/>
          </a:prstGeom>
        </p:spPr>
      </p:pic>
      <p:pic>
        <p:nvPicPr>
          <p:cNvPr id="46" name="Grafik 45" descr="Fragen mit einfarbiger Füllung">
            <a:extLst>
              <a:ext uri="{FF2B5EF4-FFF2-40B4-BE49-F238E27FC236}">
                <a16:creationId xmlns:a16="http://schemas.microsoft.com/office/drawing/2014/main" id="{689D27CC-1269-4EF0-ABEA-7C75AFCE8F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6138422" y="3308848"/>
            <a:ext cx="529230" cy="529230"/>
          </a:xfrm>
          <a:prstGeom prst="rect">
            <a:avLst/>
          </a:prstGeom>
        </p:spPr>
      </p:pic>
      <p:pic>
        <p:nvPicPr>
          <p:cNvPr id="48" name="Grafik 47" descr="Rakete mit einfarbiger Füllung">
            <a:extLst>
              <a:ext uri="{FF2B5EF4-FFF2-40B4-BE49-F238E27FC236}">
                <a16:creationId xmlns:a16="http://schemas.microsoft.com/office/drawing/2014/main" id="{C7793548-0237-41E7-9009-32BD81D571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83122" y="4648124"/>
            <a:ext cx="484530" cy="484530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A21FDA2-04E1-4918-998D-D4E14DEFB5C5}"/>
              </a:ext>
            </a:extLst>
          </p:cNvPr>
          <p:cNvGrpSpPr/>
          <p:nvPr/>
        </p:nvGrpSpPr>
        <p:grpSpPr>
          <a:xfrm>
            <a:off x="6121400" y="1993251"/>
            <a:ext cx="588541" cy="504632"/>
            <a:chOff x="6121400" y="1993251"/>
            <a:chExt cx="588541" cy="504632"/>
          </a:xfrm>
        </p:grpSpPr>
        <p:pic>
          <p:nvPicPr>
            <p:cNvPr id="44" name="Grafik 43" descr="Rede mit einfarbiger Füllung">
              <a:extLst>
                <a:ext uri="{FF2B5EF4-FFF2-40B4-BE49-F238E27FC236}">
                  <a16:creationId xmlns:a16="http://schemas.microsoft.com/office/drawing/2014/main" id="{4935F2CA-BA3E-4145-BAEA-43D65F405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75841" y="1993251"/>
              <a:ext cx="434100" cy="434100"/>
            </a:xfrm>
            <a:prstGeom prst="rect">
              <a:avLst/>
            </a:prstGeom>
          </p:spPr>
        </p:pic>
        <p:pic>
          <p:nvPicPr>
            <p:cNvPr id="49" name="Grafik 48" descr="Rede mit einfarbiger Füllung">
              <a:extLst>
                <a:ext uri="{FF2B5EF4-FFF2-40B4-BE49-F238E27FC236}">
                  <a16:creationId xmlns:a16="http://schemas.microsoft.com/office/drawing/2014/main" id="{E0FBD7B3-7B5B-4F4C-9AB7-5DC4278EB9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21400" y="2063783"/>
              <a:ext cx="434100" cy="434100"/>
            </a:xfrm>
            <a:prstGeom prst="rect">
              <a:avLst/>
            </a:prstGeom>
          </p:spPr>
        </p:pic>
      </p:grpSp>
      <p:sp>
        <p:nvSpPr>
          <p:cNvPr id="38" name="Textplatzhalter 1">
            <a:extLst>
              <a:ext uri="{FF2B5EF4-FFF2-40B4-BE49-F238E27FC236}">
                <a16:creationId xmlns:a16="http://schemas.microsoft.com/office/drawing/2014/main" id="{C66B6F72-7608-4657-8963-6E1F941013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8" y="324797"/>
            <a:ext cx="2798072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2675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FC1E5-D0FD-4DFF-8D6B-A1180F98B5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FE7B56D1-166B-49DE-9FD5-45CB0FE97BAD}"/>
              </a:ext>
            </a:extLst>
          </p:cNvPr>
          <p:cNvGrpSpPr/>
          <p:nvPr/>
        </p:nvGrpSpPr>
        <p:grpSpPr>
          <a:xfrm>
            <a:off x="371474" y="1882459"/>
            <a:ext cx="1976285" cy="503811"/>
            <a:chOff x="371474" y="1926909"/>
            <a:chExt cx="1976285" cy="503811"/>
          </a:xfrm>
        </p:grpSpPr>
        <p:sp>
          <p:nvSpPr>
            <p:cNvPr id="41" name="Abgerundetes Rechteck 21">
              <a:extLst>
                <a:ext uri="{FF2B5EF4-FFF2-40B4-BE49-F238E27FC236}">
                  <a16:creationId xmlns:a16="http://schemas.microsoft.com/office/drawing/2014/main" id="{CFDC9BD1-9544-4903-B573-13A6E0F8B35B}"/>
                </a:ext>
              </a:extLst>
            </p:cNvPr>
            <p:cNvSpPr/>
            <p:nvPr/>
          </p:nvSpPr>
          <p:spPr>
            <a:xfrm>
              <a:off x="526026" y="1965412"/>
              <a:ext cx="1821733" cy="465308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endParaRPr lang="de-DE" sz="1400">
                <a:solidFill>
                  <a:srgbClr val="323332"/>
                </a:solidFill>
                <a:latin typeface="Taz (Textkörper)"/>
              </a:endParaRPr>
            </a:p>
          </p:txBody>
        </p:sp>
        <p:sp>
          <p:nvSpPr>
            <p:cNvPr id="42" name="Abgerundetes Rechteck 21">
              <a:extLst>
                <a:ext uri="{FF2B5EF4-FFF2-40B4-BE49-F238E27FC236}">
                  <a16:creationId xmlns:a16="http://schemas.microsoft.com/office/drawing/2014/main" id="{A81328E1-C710-4671-9419-50464E9B935D}"/>
                </a:ext>
              </a:extLst>
            </p:cNvPr>
            <p:cNvSpPr/>
            <p:nvPr/>
          </p:nvSpPr>
          <p:spPr>
            <a:xfrm>
              <a:off x="371474" y="1926909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1</a:t>
              </a:r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D4BE2B7C-4CEB-46A9-A55C-CDD92D8380FA}"/>
              </a:ext>
            </a:extLst>
          </p:cNvPr>
          <p:cNvGrpSpPr/>
          <p:nvPr/>
        </p:nvGrpSpPr>
        <p:grpSpPr>
          <a:xfrm>
            <a:off x="2432789" y="1882459"/>
            <a:ext cx="1976285" cy="503811"/>
            <a:chOff x="2436505" y="1926909"/>
            <a:chExt cx="1976285" cy="503811"/>
          </a:xfrm>
        </p:grpSpPr>
        <p:sp>
          <p:nvSpPr>
            <p:cNvPr id="43" name="Abgerundetes Rechteck 21">
              <a:extLst>
                <a:ext uri="{FF2B5EF4-FFF2-40B4-BE49-F238E27FC236}">
                  <a16:creationId xmlns:a16="http://schemas.microsoft.com/office/drawing/2014/main" id="{77CE8056-417B-432D-AD9A-0186B8597BB2}"/>
                </a:ext>
              </a:extLst>
            </p:cNvPr>
            <p:cNvSpPr/>
            <p:nvPr/>
          </p:nvSpPr>
          <p:spPr>
            <a:xfrm>
              <a:off x="2591057" y="1965412"/>
              <a:ext cx="1821733" cy="465308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endParaRPr lang="en-US" sz="1400" kern="0">
                <a:ln w="22225">
                  <a:noFill/>
                </a:ln>
                <a:latin typeface="+mj-lt"/>
              </a:endParaRPr>
            </a:p>
          </p:txBody>
        </p:sp>
        <p:sp>
          <p:nvSpPr>
            <p:cNvPr id="44" name="Abgerundetes Rechteck 21">
              <a:extLst>
                <a:ext uri="{FF2B5EF4-FFF2-40B4-BE49-F238E27FC236}">
                  <a16:creationId xmlns:a16="http://schemas.microsoft.com/office/drawing/2014/main" id="{CF89B993-C42C-4FEF-ACEF-20343822F167}"/>
                </a:ext>
              </a:extLst>
            </p:cNvPr>
            <p:cNvSpPr/>
            <p:nvPr/>
          </p:nvSpPr>
          <p:spPr>
            <a:xfrm>
              <a:off x="2436505" y="1926909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2</a:t>
              </a: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E5D06D63-9C2E-49F8-A3D6-A60857E7C8FB}"/>
              </a:ext>
            </a:extLst>
          </p:cNvPr>
          <p:cNvGrpSpPr/>
          <p:nvPr/>
        </p:nvGrpSpPr>
        <p:grpSpPr>
          <a:xfrm>
            <a:off x="4494105" y="1882459"/>
            <a:ext cx="1976285" cy="503811"/>
            <a:chOff x="4879705" y="1926909"/>
            <a:chExt cx="1976285" cy="503811"/>
          </a:xfrm>
        </p:grpSpPr>
        <p:sp>
          <p:nvSpPr>
            <p:cNvPr id="45" name="Abgerundetes Rechteck 21">
              <a:extLst>
                <a:ext uri="{FF2B5EF4-FFF2-40B4-BE49-F238E27FC236}">
                  <a16:creationId xmlns:a16="http://schemas.microsoft.com/office/drawing/2014/main" id="{10FD73B7-9549-4E97-816B-17CE55A4DBD8}"/>
                </a:ext>
              </a:extLst>
            </p:cNvPr>
            <p:cNvSpPr/>
            <p:nvPr/>
          </p:nvSpPr>
          <p:spPr>
            <a:xfrm>
              <a:off x="5034257" y="1965412"/>
              <a:ext cx="1821733" cy="465308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lIns="72000" tIns="72000" rIns="72000" bIns="72000" rtlCol="0" anchor="ctr"/>
            <a:lstStyle/>
            <a:p>
              <a:pPr algn="ctr" defTabSz="914400"/>
              <a:endParaRPr lang="en-US" sz="1400" kern="0">
                <a:ln w="22225">
                  <a:noFill/>
                </a:ln>
                <a:latin typeface="+mj-lt"/>
              </a:endParaRPr>
            </a:p>
          </p:txBody>
        </p:sp>
        <p:sp>
          <p:nvSpPr>
            <p:cNvPr id="46" name="Abgerundetes Rechteck 21">
              <a:extLst>
                <a:ext uri="{FF2B5EF4-FFF2-40B4-BE49-F238E27FC236}">
                  <a16:creationId xmlns:a16="http://schemas.microsoft.com/office/drawing/2014/main" id="{D97C45B9-527E-49EC-9E3F-131A0BFB1A8F}"/>
                </a:ext>
              </a:extLst>
            </p:cNvPr>
            <p:cNvSpPr/>
            <p:nvPr/>
          </p:nvSpPr>
          <p:spPr>
            <a:xfrm>
              <a:off x="4879705" y="1926909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3</a:t>
              </a:r>
            </a:p>
          </p:txBody>
        </p:sp>
      </p:grpSp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D25EAF1A-ACA9-402F-924C-DB02DA218CEE}"/>
              </a:ext>
            </a:extLst>
          </p:cNvPr>
          <p:cNvSpPr/>
          <p:nvPr/>
        </p:nvSpPr>
        <p:spPr>
          <a:xfrm>
            <a:off x="6555421" y="1920962"/>
            <a:ext cx="396000" cy="4561286"/>
          </a:xfrm>
          <a:prstGeom prst="roundRect">
            <a:avLst/>
          </a:prstGeom>
          <a:solidFill>
            <a:srgbClr val="EE1F26"/>
          </a:solidFill>
          <a:ln w="19050">
            <a:noFill/>
          </a:ln>
        </p:spPr>
        <p:txBody>
          <a:bodyPr vert="vert270" wrap="square" lIns="36000" tIns="36000" rIns="36000" bIns="0" rtlCol="0" anchor="ctr">
            <a:noAutofit/>
          </a:bodyPr>
          <a:lstStyle/>
          <a:p>
            <a:pPr algn="ctr" defTabSz="914400">
              <a:spcBef>
                <a:spcPts val="500"/>
              </a:spcBef>
            </a:pPr>
            <a:endParaRPr lang="de-DE" sz="1400" kern="0">
              <a:ln w="22225">
                <a:noFill/>
              </a:ln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9E4A0F12-CBE2-4C7A-A6D7-3A36503EB19C}"/>
              </a:ext>
            </a:extLst>
          </p:cNvPr>
          <p:cNvGrpSpPr/>
          <p:nvPr/>
        </p:nvGrpSpPr>
        <p:grpSpPr>
          <a:xfrm>
            <a:off x="7036451" y="1882459"/>
            <a:ext cx="1976285" cy="503811"/>
            <a:chOff x="7559208" y="1926909"/>
            <a:chExt cx="1976285" cy="503811"/>
          </a:xfrm>
        </p:grpSpPr>
        <p:sp>
          <p:nvSpPr>
            <p:cNvPr id="48" name="Abgerundetes Rechteck 21">
              <a:extLst>
                <a:ext uri="{FF2B5EF4-FFF2-40B4-BE49-F238E27FC236}">
                  <a16:creationId xmlns:a16="http://schemas.microsoft.com/office/drawing/2014/main" id="{B2137B1F-C81E-48E7-BC82-822C59264697}"/>
                </a:ext>
              </a:extLst>
            </p:cNvPr>
            <p:cNvSpPr/>
            <p:nvPr/>
          </p:nvSpPr>
          <p:spPr>
            <a:xfrm>
              <a:off x="7713760" y="1965412"/>
              <a:ext cx="1821733" cy="465308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endParaRPr lang="en-US" sz="1400" kern="0">
                <a:ln w="22225">
                  <a:noFill/>
                </a:ln>
                <a:latin typeface="+mj-lt"/>
              </a:endParaRPr>
            </a:p>
          </p:txBody>
        </p:sp>
        <p:sp>
          <p:nvSpPr>
            <p:cNvPr id="49" name="Abgerundetes Rechteck 21">
              <a:extLst>
                <a:ext uri="{FF2B5EF4-FFF2-40B4-BE49-F238E27FC236}">
                  <a16:creationId xmlns:a16="http://schemas.microsoft.com/office/drawing/2014/main" id="{11D638F6-FFBD-46C5-AE0A-534CC933605F}"/>
                </a:ext>
              </a:extLst>
            </p:cNvPr>
            <p:cNvSpPr/>
            <p:nvPr/>
          </p:nvSpPr>
          <p:spPr>
            <a:xfrm>
              <a:off x="7559208" y="1926909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4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6E299BE8-4EC8-4015-A41F-231C4F414612}"/>
              </a:ext>
            </a:extLst>
          </p:cNvPr>
          <p:cNvGrpSpPr/>
          <p:nvPr/>
        </p:nvGrpSpPr>
        <p:grpSpPr>
          <a:xfrm>
            <a:off x="9097766" y="1882459"/>
            <a:ext cx="1976285" cy="503811"/>
            <a:chOff x="9729018" y="1926909"/>
            <a:chExt cx="1976285" cy="503811"/>
          </a:xfrm>
        </p:grpSpPr>
        <p:sp>
          <p:nvSpPr>
            <p:cNvPr id="50" name="Abgerundetes Rechteck 21">
              <a:extLst>
                <a:ext uri="{FF2B5EF4-FFF2-40B4-BE49-F238E27FC236}">
                  <a16:creationId xmlns:a16="http://schemas.microsoft.com/office/drawing/2014/main" id="{BF3D18B6-4CEE-4CFE-9DA8-FCFDE76F55D2}"/>
                </a:ext>
              </a:extLst>
            </p:cNvPr>
            <p:cNvSpPr/>
            <p:nvPr/>
          </p:nvSpPr>
          <p:spPr>
            <a:xfrm>
              <a:off x="9883570" y="1965412"/>
              <a:ext cx="1821733" cy="465308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endParaRPr lang="en-US" sz="1400" kern="0">
                <a:ln w="22225">
                  <a:noFill/>
                </a:ln>
                <a:highlight>
                  <a:srgbClr val="FFFF00"/>
                </a:highlight>
                <a:latin typeface="+mj-lt"/>
              </a:endParaRPr>
            </a:p>
          </p:txBody>
        </p:sp>
        <p:sp>
          <p:nvSpPr>
            <p:cNvPr id="51" name="Abgerundetes Rechteck 21">
              <a:extLst>
                <a:ext uri="{FF2B5EF4-FFF2-40B4-BE49-F238E27FC236}">
                  <a16:creationId xmlns:a16="http://schemas.microsoft.com/office/drawing/2014/main" id="{A1203600-EFD9-4114-96B0-C5452A8E94BF}"/>
                </a:ext>
              </a:extLst>
            </p:cNvPr>
            <p:cNvSpPr/>
            <p:nvPr/>
          </p:nvSpPr>
          <p:spPr>
            <a:xfrm>
              <a:off x="9729018" y="1926909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5</a:t>
              </a:r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8ABD6BE-71D6-4187-9B3A-2C33C5429563}"/>
              </a:ext>
            </a:extLst>
          </p:cNvPr>
          <p:cNvGrpSpPr/>
          <p:nvPr/>
        </p:nvGrpSpPr>
        <p:grpSpPr>
          <a:xfrm>
            <a:off x="11159082" y="1871663"/>
            <a:ext cx="556800" cy="4573594"/>
            <a:chOff x="11159082" y="1883432"/>
            <a:chExt cx="556800" cy="4473122"/>
          </a:xfrm>
        </p:grpSpPr>
        <p:sp>
          <p:nvSpPr>
            <p:cNvPr id="57" name="Rechteck: abgerundete Ecken 56">
              <a:extLst>
                <a:ext uri="{FF2B5EF4-FFF2-40B4-BE49-F238E27FC236}">
                  <a16:creationId xmlns:a16="http://schemas.microsoft.com/office/drawing/2014/main" id="{C30C9B26-FC9A-4946-9F63-374EDB749899}"/>
                </a:ext>
              </a:extLst>
            </p:cNvPr>
            <p:cNvSpPr/>
            <p:nvPr/>
          </p:nvSpPr>
          <p:spPr>
            <a:xfrm>
              <a:off x="11319882" y="1965412"/>
              <a:ext cx="396000" cy="4391142"/>
            </a:xfrm>
            <a:prstGeom prst="roundRect">
              <a:avLst/>
            </a:prstGeom>
            <a:noFill/>
            <a:ln w="19050" cap="flat" cmpd="sng" algn="ctr">
              <a:solidFill>
                <a:srgbClr val="EE1F26"/>
              </a:solidFill>
              <a:prstDash val="solid"/>
            </a:ln>
            <a:effectLst/>
          </p:spPr>
          <p:txBody>
            <a:bodyPr vert="vert270" tIns="72000" bIns="72000" rtlCol="0" anchor="ctr"/>
            <a:lstStyle/>
            <a:p>
              <a:pPr algn="ctr" defTabSz="914400"/>
              <a:endParaRPr lang="de-DE" sz="1400" kern="0">
                <a:ln w="22225">
                  <a:noFill/>
                </a:ln>
                <a:latin typeface="+mj-lt"/>
              </a:endParaRPr>
            </a:p>
          </p:txBody>
        </p:sp>
        <p:sp>
          <p:nvSpPr>
            <p:cNvPr id="58" name="Abgerundetes Rechteck 21">
              <a:extLst>
                <a:ext uri="{FF2B5EF4-FFF2-40B4-BE49-F238E27FC236}">
                  <a16:creationId xmlns:a16="http://schemas.microsoft.com/office/drawing/2014/main" id="{75C9CABB-11C4-4D6A-9C81-9ECA4BC68183}"/>
                </a:ext>
              </a:extLst>
            </p:cNvPr>
            <p:cNvSpPr/>
            <p:nvPr/>
          </p:nvSpPr>
          <p:spPr>
            <a:xfrm>
              <a:off x="11159082" y="1883432"/>
              <a:ext cx="314081" cy="314446"/>
            </a:xfrm>
            <a:prstGeom prst="ellipse">
              <a:avLst/>
            </a:prstGeom>
            <a:solidFill>
              <a:schemeClr val="accent6"/>
            </a:solidFill>
            <a:ln w="1905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  <a:effectLst/>
          </p:spPr>
          <p:txBody>
            <a:bodyPr tIns="72000" bIns="72000" rtlCol="0" anchor="ctr"/>
            <a:lstStyle/>
            <a:p>
              <a:pPr algn="ctr" defTabSz="914400"/>
              <a:r>
                <a:rPr lang="de-DE" sz="1400">
                  <a:solidFill>
                    <a:schemeClr val="bg1"/>
                  </a:solidFill>
                  <a:latin typeface="Taz (Textkörper)"/>
                </a:rPr>
                <a:t>6</a:t>
              </a:r>
            </a:p>
          </p:txBody>
        </p:sp>
      </p:grpSp>
      <p:sp>
        <p:nvSpPr>
          <p:cNvPr id="60" name="Inhaltsplatzhalter 7">
            <a:extLst>
              <a:ext uri="{FF2B5EF4-FFF2-40B4-BE49-F238E27FC236}">
                <a16:creationId xmlns:a16="http://schemas.microsoft.com/office/drawing/2014/main" id="{7B2CCD38-E631-4F41-A03E-868C6F335595}"/>
              </a:ext>
            </a:extLst>
          </p:cNvPr>
          <p:cNvSpPr txBox="1">
            <a:spLocks/>
          </p:cNvSpPr>
          <p:nvPr/>
        </p:nvSpPr>
        <p:spPr>
          <a:xfrm>
            <a:off x="526026" y="2512769"/>
            <a:ext cx="1821734" cy="37792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de-DE" sz="1100"/>
          </a:p>
        </p:txBody>
      </p:sp>
      <p:sp>
        <p:nvSpPr>
          <p:cNvPr id="63" name="Rechteck: eine Ecke abgeschnitten 62">
            <a:extLst>
              <a:ext uri="{FF2B5EF4-FFF2-40B4-BE49-F238E27FC236}">
                <a16:creationId xmlns:a16="http://schemas.microsoft.com/office/drawing/2014/main" id="{72F016E7-76C0-4AD8-91DC-9683C9351DFB}"/>
              </a:ext>
            </a:extLst>
          </p:cNvPr>
          <p:cNvSpPr/>
          <p:nvPr/>
        </p:nvSpPr>
        <p:spPr>
          <a:xfrm flipH="1">
            <a:off x="2571663" y="2507262"/>
            <a:ext cx="1836168" cy="3953811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Inhaltsplatzhalter 7">
            <a:extLst>
              <a:ext uri="{FF2B5EF4-FFF2-40B4-BE49-F238E27FC236}">
                <a16:creationId xmlns:a16="http://schemas.microsoft.com/office/drawing/2014/main" id="{6F92D20D-F99E-4F16-AAF6-656D12B3FEE5}"/>
              </a:ext>
            </a:extLst>
          </p:cNvPr>
          <p:cNvSpPr txBox="1">
            <a:spLocks/>
          </p:cNvSpPr>
          <p:nvPr/>
        </p:nvSpPr>
        <p:spPr>
          <a:xfrm>
            <a:off x="2594558" y="2512769"/>
            <a:ext cx="1821734" cy="377923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de-DE" sz="1100"/>
          </a:p>
        </p:txBody>
      </p:sp>
      <p:sp>
        <p:nvSpPr>
          <p:cNvPr id="65" name="Rechteck: eine Ecke abgeschnitten 64">
            <a:extLst>
              <a:ext uri="{FF2B5EF4-FFF2-40B4-BE49-F238E27FC236}">
                <a16:creationId xmlns:a16="http://schemas.microsoft.com/office/drawing/2014/main" id="{B84B272D-D406-4843-A3C0-4C35617E2B97}"/>
              </a:ext>
            </a:extLst>
          </p:cNvPr>
          <p:cNvSpPr/>
          <p:nvPr/>
        </p:nvSpPr>
        <p:spPr>
          <a:xfrm flipH="1">
            <a:off x="4640195" y="2528501"/>
            <a:ext cx="1836168" cy="3953811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Inhaltsplatzhalter 7">
            <a:extLst>
              <a:ext uri="{FF2B5EF4-FFF2-40B4-BE49-F238E27FC236}">
                <a16:creationId xmlns:a16="http://schemas.microsoft.com/office/drawing/2014/main" id="{ADB3B20D-E771-4335-833A-6D5895503BA6}"/>
              </a:ext>
            </a:extLst>
          </p:cNvPr>
          <p:cNvSpPr txBox="1">
            <a:spLocks/>
          </p:cNvSpPr>
          <p:nvPr/>
        </p:nvSpPr>
        <p:spPr>
          <a:xfrm>
            <a:off x="4648657" y="2512769"/>
            <a:ext cx="1821734" cy="377923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de-DE" sz="1100"/>
          </a:p>
        </p:txBody>
      </p:sp>
      <p:sp>
        <p:nvSpPr>
          <p:cNvPr id="67" name="Rechteck: eine Ecke abgeschnitten 66">
            <a:extLst>
              <a:ext uri="{FF2B5EF4-FFF2-40B4-BE49-F238E27FC236}">
                <a16:creationId xmlns:a16="http://schemas.microsoft.com/office/drawing/2014/main" id="{DC05D4F2-9D3F-410E-B320-B9D3E1439275}"/>
              </a:ext>
            </a:extLst>
          </p:cNvPr>
          <p:cNvSpPr/>
          <p:nvPr/>
        </p:nvSpPr>
        <p:spPr>
          <a:xfrm flipH="1">
            <a:off x="7191003" y="2474669"/>
            <a:ext cx="1836168" cy="3953811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Inhaltsplatzhalter 7">
            <a:extLst>
              <a:ext uri="{FF2B5EF4-FFF2-40B4-BE49-F238E27FC236}">
                <a16:creationId xmlns:a16="http://schemas.microsoft.com/office/drawing/2014/main" id="{F6DC4885-E325-422E-937D-290A74870B0E}"/>
              </a:ext>
            </a:extLst>
          </p:cNvPr>
          <p:cNvSpPr txBox="1">
            <a:spLocks/>
          </p:cNvSpPr>
          <p:nvPr/>
        </p:nvSpPr>
        <p:spPr>
          <a:xfrm>
            <a:off x="7191004" y="2512769"/>
            <a:ext cx="1821734" cy="377923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de-DE" sz="1100"/>
          </a:p>
        </p:txBody>
      </p:sp>
      <p:sp>
        <p:nvSpPr>
          <p:cNvPr id="69" name="Rechteck: eine Ecke abgeschnitten 68">
            <a:extLst>
              <a:ext uri="{FF2B5EF4-FFF2-40B4-BE49-F238E27FC236}">
                <a16:creationId xmlns:a16="http://schemas.microsoft.com/office/drawing/2014/main" id="{A55B6E87-8ECA-4D4D-8575-B207755AD473}"/>
              </a:ext>
            </a:extLst>
          </p:cNvPr>
          <p:cNvSpPr/>
          <p:nvPr/>
        </p:nvSpPr>
        <p:spPr>
          <a:xfrm flipH="1">
            <a:off x="9242540" y="2474667"/>
            <a:ext cx="1836168" cy="3953811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Inhaltsplatzhalter 7">
            <a:extLst>
              <a:ext uri="{FF2B5EF4-FFF2-40B4-BE49-F238E27FC236}">
                <a16:creationId xmlns:a16="http://schemas.microsoft.com/office/drawing/2014/main" id="{B859BD35-B35B-428B-83CE-E89478329B19}"/>
              </a:ext>
            </a:extLst>
          </p:cNvPr>
          <p:cNvSpPr txBox="1">
            <a:spLocks/>
          </p:cNvSpPr>
          <p:nvPr/>
        </p:nvSpPr>
        <p:spPr>
          <a:xfrm>
            <a:off x="9252319" y="2512769"/>
            <a:ext cx="1821734" cy="37792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de-DE" sz="1100"/>
          </a:p>
        </p:txBody>
      </p:sp>
      <p:sp>
        <p:nvSpPr>
          <p:cNvPr id="72" name="Textplatzhalter 1">
            <a:extLst>
              <a:ext uri="{FF2B5EF4-FFF2-40B4-BE49-F238E27FC236}">
                <a16:creationId xmlns:a16="http://schemas.microsoft.com/office/drawing/2014/main" id="{FEB0C889-AFFD-470B-800A-9D1D2753C6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8" y="324797"/>
            <a:ext cx="2364862" cy="258532"/>
          </a:xfrm>
        </p:spPr>
        <p:txBody>
          <a:bodyPr/>
          <a:lstStyle/>
          <a:p>
            <a:endParaRPr lang="de-DE"/>
          </a:p>
        </p:txBody>
      </p:sp>
      <p:sp>
        <p:nvSpPr>
          <p:cNvPr id="7" name="Rechteck: eine Ecke abgeschnitten 6">
            <a:extLst>
              <a:ext uri="{FF2B5EF4-FFF2-40B4-BE49-F238E27FC236}">
                <a16:creationId xmlns:a16="http://schemas.microsoft.com/office/drawing/2014/main" id="{3895859F-4232-4D4E-A169-F9A7B2F814A1}"/>
              </a:ext>
            </a:extLst>
          </p:cNvPr>
          <p:cNvSpPr/>
          <p:nvPr/>
        </p:nvSpPr>
        <p:spPr>
          <a:xfrm flipH="1">
            <a:off x="497158" y="2474668"/>
            <a:ext cx="1836168" cy="3953811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146450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: eine Ecke abgeschnitten 15">
            <a:extLst>
              <a:ext uri="{FF2B5EF4-FFF2-40B4-BE49-F238E27FC236}">
                <a16:creationId xmlns:a16="http://schemas.microsoft.com/office/drawing/2014/main" id="{68172B28-A930-49A7-ACC5-5D72C338BDC6}"/>
              </a:ext>
            </a:extLst>
          </p:cNvPr>
          <p:cNvSpPr/>
          <p:nvPr/>
        </p:nvSpPr>
        <p:spPr>
          <a:xfrm flipH="1">
            <a:off x="1868986" y="180879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Reduzieren von Logfiles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F272F1C-1B42-40EB-B8DF-ED10D94D3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Die Wichtigsten Funktionen im Überblick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90BE39F-C283-4734-B9C1-F2AE5E344E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086" y="257747"/>
            <a:ext cx="1730154" cy="258532"/>
          </a:xfrm>
        </p:spPr>
        <p:txBody>
          <a:bodyPr/>
          <a:lstStyle/>
          <a:p>
            <a:r>
              <a:rPr lang="de-DE"/>
              <a:t>Die Funktionen von PL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8B88CF-B246-32FC-BFA1-73F3E2A728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23" y="242161"/>
            <a:ext cx="285740" cy="283835"/>
          </a:xfrm>
          <a:prstGeom prst="rect">
            <a:avLst/>
          </a:prstGeom>
        </p:spPr>
      </p:pic>
      <p:sp>
        <p:nvSpPr>
          <p:cNvPr id="4" name="Rechteck: eine Ecke abgeschnitten 15">
            <a:extLst>
              <a:ext uri="{FF2B5EF4-FFF2-40B4-BE49-F238E27FC236}">
                <a16:creationId xmlns:a16="http://schemas.microsoft.com/office/drawing/2014/main" id="{8200191A-4336-06EE-829F-9E2A5165EB56}"/>
              </a:ext>
            </a:extLst>
          </p:cNvPr>
          <p:cNvSpPr/>
          <p:nvPr/>
        </p:nvSpPr>
        <p:spPr>
          <a:xfrm flipH="1">
            <a:off x="1868986" y="3237124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Allgemeine Strukturfunktionen</a:t>
            </a:r>
          </a:p>
        </p:txBody>
      </p:sp>
      <p:sp>
        <p:nvSpPr>
          <p:cNvPr id="6" name="Rechteck: eine Ecke abgeschnitten 15">
            <a:extLst>
              <a:ext uri="{FF2B5EF4-FFF2-40B4-BE49-F238E27FC236}">
                <a16:creationId xmlns:a16="http://schemas.microsoft.com/office/drawing/2014/main" id="{26759059-6967-DDD5-63BC-0C76F25F2473}"/>
              </a:ext>
            </a:extLst>
          </p:cNvPr>
          <p:cNvSpPr/>
          <p:nvPr/>
        </p:nvSpPr>
        <p:spPr>
          <a:xfrm flipH="1">
            <a:off x="1868986" y="4743131"/>
            <a:ext cx="9587496" cy="935089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Importieren von Logfil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6A03833-F556-BBF2-19EA-05CE8E16D6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1744967"/>
            <a:ext cx="1043617" cy="103666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808AB19-F603-5C46-D741-923EA4E331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3" y="3193263"/>
            <a:ext cx="1043617" cy="1036660"/>
          </a:xfrm>
          <a:prstGeom prst="rect">
            <a:avLst/>
          </a:prstGeom>
        </p:spPr>
      </p:pic>
      <p:pic>
        <p:nvPicPr>
          <p:cNvPr id="9" name="Grafik 8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846D1CD2-8587-FE44-5A7B-CD39D234F4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19" y="4679383"/>
            <a:ext cx="1043617" cy="103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4526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35785" y="2267765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>
                <a:solidFill>
                  <a:srgbClr val="FF0000"/>
                </a:solidFill>
              </a:rPr>
              <a:t>TEXT</a:t>
            </a: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/>
              <a:t>Text</a:t>
            </a:r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996661" y="2267765"/>
            <a:ext cx="1139737" cy="215445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/>
              <a:t>Text</a:t>
            </a:r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/>
              <a:t>Text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F38A1152-A062-400A-A243-93F7F6099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8" y="324797"/>
            <a:ext cx="2117352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25927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2122B-D17F-87F5-57B6-B9FFA5007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58616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40236D-575A-4F09-8BBB-85B6C52B32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2007" y="1239789"/>
            <a:ext cx="11438518" cy="387798"/>
          </a:xfrm>
        </p:spPr>
        <p:txBody>
          <a:bodyPr/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22" name="CuadroTexto 395">
            <a:extLst>
              <a:ext uri="{FF2B5EF4-FFF2-40B4-BE49-F238E27FC236}">
                <a16:creationId xmlns:a16="http://schemas.microsoft.com/office/drawing/2014/main" id="{444E1751-99DF-48C1-9EF8-9669717C2FAD}"/>
              </a:ext>
            </a:extLst>
          </p:cNvPr>
          <p:cNvSpPr txBox="1"/>
          <p:nvPr/>
        </p:nvSpPr>
        <p:spPr>
          <a:xfrm>
            <a:off x="9032957" y="2289191"/>
            <a:ext cx="2787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err="1">
                <a:solidFill>
                  <a:srgbClr val="2C2F34"/>
                </a:solidFill>
                <a:latin typeface="+mj-lt"/>
                <a:ea typeface="Lato" charset="0"/>
                <a:cs typeface="Lato" charset="0"/>
              </a:rPr>
              <a:t>abc</a:t>
            </a:r>
            <a:endParaRPr lang="en-US" sz="1600">
              <a:solidFill>
                <a:srgbClr val="2C2F34"/>
              </a:solidFill>
              <a:latin typeface="+mj-lt"/>
              <a:ea typeface="Lato" charset="0"/>
              <a:cs typeface="Lato" charset="0"/>
            </a:endParaRPr>
          </a:p>
        </p:txBody>
      </p:sp>
      <p:sp>
        <p:nvSpPr>
          <p:cNvPr id="25" name="CuadroTexto 395">
            <a:extLst>
              <a:ext uri="{FF2B5EF4-FFF2-40B4-BE49-F238E27FC236}">
                <a16:creationId xmlns:a16="http://schemas.microsoft.com/office/drawing/2014/main" id="{6D5AAB22-4F2A-4A9B-B076-AE61559362A2}"/>
              </a:ext>
            </a:extLst>
          </p:cNvPr>
          <p:cNvSpPr txBox="1"/>
          <p:nvPr/>
        </p:nvSpPr>
        <p:spPr>
          <a:xfrm>
            <a:off x="9032957" y="3588033"/>
            <a:ext cx="2787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err="1">
                <a:solidFill>
                  <a:srgbClr val="2C2F34"/>
                </a:solidFill>
                <a:latin typeface="+mj-lt"/>
                <a:ea typeface="Lato" charset="0"/>
                <a:cs typeface="Lato" charset="0"/>
              </a:rPr>
              <a:t>abc</a:t>
            </a:r>
            <a:endParaRPr lang="en-US" sz="1600">
              <a:solidFill>
                <a:srgbClr val="2C2F34"/>
              </a:solidFill>
              <a:latin typeface="+mj-lt"/>
              <a:ea typeface="Lato" charset="0"/>
              <a:cs typeface="Lato" charset="0"/>
            </a:endParaRPr>
          </a:p>
        </p:txBody>
      </p:sp>
      <p:sp>
        <p:nvSpPr>
          <p:cNvPr id="28" name="CuadroTexto 395">
            <a:extLst>
              <a:ext uri="{FF2B5EF4-FFF2-40B4-BE49-F238E27FC236}">
                <a16:creationId xmlns:a16="http://schemas.microsoft.com/office/drawing/2014/main" id="{C15BC573-2639-487D-AD32-846A733B9718}"/>
              </a:ext>
            </a:extLst>
          </p:cNvPr>
          <p:cNvSpPr txBox="1"/>
          <p:nvPr/>
        </p:nvSpPr>
        <p:spPr>
          <a:xfrm>
            <a:off x="9032957" y="4989110"/>
            <a:ext cx="2787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err="1">
                <a:solidFill>
                  <a:srgbClr val="2C2F34"/>
                </a:solidFill>
                <a:latin typeface="+mj-lt"/>
                <a:ea typeface="Lato" charset="0"/>
                <a:cs typeface="Lato" charset="0"/>
              </a:rPr>
              <a:t>abc</a:t>
            </a:r>
            <a:endParaRPr lang="en-US" sz="1600">
              <a:solidFill>
                <a:srgbClr val="2C2F34"/>
              </a:solidFill>
              <a:latin typeface="+mj-lt"/>
              <a:ea typeface="Lato" charset="0"/>
              <a:cs typeface="Lato" charset="0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A2BF6E52-0F8F-4A6C-BE14-38D2A6F8A910}"/>
              </a:ext>
            </a:extLst>
          </p:cNvPr>
          <p:cNvSpPr/>
          <p:nvPr/>
        </p:nvSpPr>
        <p:spPr>
          <a:xfrm>
            <a:off x="5044637" y="2952169"/>
            <a:ext cx="2102726" cy="210272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>
              <a:lnSpc>
                <a:spcPct val="90000"/>
              </a:lnSpc>
            </a:pPr>
            <a:endParaRPr lang="de-DE" sz="3200" b="1" cap="all">
              <a:solidFill>
                <a:schemeClr val="bg1"/>
              </a:solidFill>
              <a:latin typeface="Taz Bold" panose="020B0703040502020204" pitchFamily="34" charset="0"/>
            </a:endParaRPr>
          </a:p>
        </p:txBody>
      </p:sp>
      <p:sp>
        <p:nvSpPr>
          <p:cNvPr id="35" name="Grafik 129">
            <a:extLst>
              <a:ext uri="{FF2B5EF4-FFF2-40B4-BE49-F238E27FC236}">
                <a16:creationId xmlns:a16="http://schemas.microsoft.com/office/drawing/2014/main" id="{FF57EB91-770B-4847-85CD-D7FDFBBCA256}"/>
              </a:ext>
            </a:extLst>
          </p:cNvPr>
          <p:cNvSpPr/>
          <p:nvPr/>
        </p:nvSpPr>
        <p:spPr>
          <a:xfrm>
            <a:off x="3543440" y="3554172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38" name="Grafik 126">
            <a:extLst>
              <a:ext uri="{FF2B5EF4-FFF2-40B4-BE49-F238E27FC236}">
                <a16:creationId xmlns:a16="http://schemas.microsoft.com/office/drawing/2014/main" id="{03BD1931-9C49-482B-9393-B6F610816F6D}"/>
              </a:ext>
            </a:extLst>
          </p:cNvPr>
          <p:cNvSpPr/>
          <p:nvPr/>
        </p:nvSpPr>
        <p:spPr>
          <a:xfrm>
            <a:off x="4193035" y="4965687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44" name="Grafik 128">
            <a:extLst>
              <a:ext uri="{FF2B5EF4-FFF2-40B4-BE49-F238E27FC236}">
                <a16:creationId xmlns:a16="http://schemas.microsoft.com/office/drawing/2014/main" id="{CB3E114E-D1FB-4065-9C0A-480CDB23EFB8}"/>
              </a:ext>
            </a:extLst>
          </p:cNvPr>
          <p:cNvSpPr/>
          <p:nvPr/>
        </p:nvSpPr>
        <p:spPr>
          <a:xfrm>
            <a:off x="4193035" y="2142657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DAB8DFD8-B2B2-47A9-B3A6-8F760334C0B4}"/>
              </a:ext>
            </a:extLst>
          </p:cNvPr>
          <p:cNvSpPr txBox="1"/>
          <p:nvPr/>
        </p:nvSpPr>
        <p:spPr>
          <a:xfrm>
            <a:off x="511181" y="1790721"/>
            <a:ext cx="26936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Text</a:t>
            </a:r>
          </a:p>
        </p:txBody>
      </p:sp>
      <p:sp>
        <p:nvSpPr>
          <p:cNvPr id="65" name="CuadroTexto 395">
            <a:extLst>
              <a:ext uri="{FF2B5EF4-FFF2-40B4-BE49-F238E27FC236}">
                <a16:creationId xmlns:a16="http://schemas.microsoft.com/office/drawing/2014/main" id="{8DAF6629-5BA4-482E-8842-03213E1FBD7A}"/>
              </a:ext>
            </a:extLst>
          </p:cNvPr>
          <p:cNvSpPr txBox="1"/>
          <p:nvPr/>
        </p:nvSpPr>
        <p:spPr>
          <a:xfrm>
            <a:off x="371475" y="2290517"/>
            <a:ext cx="2833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err="1">
                <a:solidFill>
                  <a:srgbClr val="2C2F34"/>
                </a:solidFill>
                <a:latin typeface="+mj-lt"/>
                <a:ea typeface="Lato" charset="0"/>
                <a:cs typeface="Lato" charset="0"/>
              </a:rPr>
              <a:t>abc</a:t>
            </a:r>
            <a:endParaRPr lang="en-US" sz="1600">
              <a:solidFill>
                <a:srgbClr val="2C2F34"/>
              </a:solidFill>
              <a:latin typeface="+mj-lt"/>
              <a:ea typeface="Lato" charset="0"/>
              <a:cs typeface="Lato" charset="0"/>
            </a:endParaRPr>
          </a:p>
        </p:txBody>
      </p:sp>
      <p:sp>
        <p:nvSpPr>
          <p:cNvPr id="71" name="CuadroTexto 395">
            <a:extLst>
              <a:ext uri="{FF2B5EF4-FFF2-40B4-BE49-F238E27FC236}">
                <a16:creationId xmlns:a16="http://schemas.microsoft.com/office/drawing/2014/main" id="{264B1BEC-9FD9-4219-AF34-698558553C94}"/>
              </a:ext>
            </a:extLst>
          </p:cNvPr>
          <p:cNvSpPr txBox="1"/>
          <p:nvPr/>
        </p:nvSpPr>
        <p:spPr>
          <a:xfrm>
            <a:off x="375430" y="5112220"/>
            <a:ext cx="2833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 defTabSz="914400">
              <a:spcBef>
                <a:spcPts val="600"/>
              </a:spcBef>
              <a:buClr>
                <a:schemeClr val="accent6"/>
              </a:buClr>
              <a:defRPr/>
            </a:pPr>
            <a:r>
              <a:rPr lang="de-DE" sz="1600" err="1">
                <a:solidFill>
                  <a:srgbClr val="323332"/>
                </a:solidFill>
                <a:latin typeface="Taz (Textkörper)"/>
              </a:rPr>
              <a:t>abc</a:t>
            </a:r>
            <a:endParaRPr lang="de-DE" sz="1600">
              <a:solidFill>
                <a:srgbClr val="323332"/>
              </a:solidFill>
              <a:latin typeface="Taz (Textkörper)"/>
            </a:endParaRPr>
          </a:p>
        </p:txBody>
      </p:sp>
      <p:pic>
        <p:nvPicPr>
          <p:cNvPr id="74" name="Grafik 73" descr="Fragen mit einfarbiger Füllung">
            <a:extLst>
              <a:ext uri="{FF2B5EF4-FFF2-40B4-BE49-F238E27FC236}">
                <a16:creationId xmlns:a16="http://schemas.microsoft.com/office/drawing/2014/main" id="{FE086541-53DF-4F03-B28C-DA7CFE69AD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37839" y="3255314"/>
            <a:ext cx="1461499" cy="1461499"/>
          </a:xfrm>
          <a:prstGeom prst="rect">
            <a:avLst/>
          </a:prstGeom>
        </p:spPr>
      </p:pic>
      <p:sp>
        <p:nvSpPr>
          <p:cNvPr id="93" name="Grafik 126">
            <a:extLst>
              <a:ext uri="{FF2B5EF4-FFF2-40B4-BE49-F238E27FC236}">
                <a16:creationId xmlns:a16="http://schemas.microsoft.com/office/drawing/2014/main" id="{74ED96B7-3CA7-4C6A-86E8-261EBE5CFB3C}"/>
              </a:ext>
            </a:extLst>
          </p:cNvPr>
          <p:cNvSpPr/>
          <p:nvPr/>
        </p:nvSpPr>
        <p:spPr>
          <a:xfrm>
            <a:off x="7193199" y="4965687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94" name="Grafik 128">
            <a:extLst>
              <a:ext uri="{FF2B5EF4-FFF2-40B4-BE49-F238E27FC236}">
                <a16:creationId xmlns:a16="http://schemas.microsoft.com/office/drawing/2014/main" id="{00C007B6-FEAC-4EF0-9DB1-98375698CDC3}"/>
              </a:ext>
            </a:extLst>
          </p:cNvPr>
          <p:cNvSpPr/>
          <p:nvPr/>
        </p:nvSpPr>
        <p:spPr>
          <a:xfrm>
            <a:off x="7193199" y="2142657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95" name="Grafik 129">
            <a:extLst>
              <a:ext uri="{FF2B5EF4-FFF2-40B4-BE49-F238E27FC236}">
                <a16:creationId xmlns:a16="http://schemas.microsoft.com/office/drawing/2014/main" id="{D7CFEA5E-58E9-427B-A139-7C01B4D2E1C4}"/>
              </a:ext>
            </a:extLst>
          </p:cNvPr>
          <p:cNvSpPr/>
          <p:nvPr/>
        </p:nvSpPr>
        <p:spPr>
          <a:xfrm>
            <a:off x="7796958" y="3554172"/>
            <a:ext cx="851602" cy="877845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96" name="CuadroTexto 395">
            <a:extLst>
              <a:ext uri="{FF2B5EF4-FFF2-40B4-BE49-F238E27FC236}">
                <a16:creationId xmlns:a16="http://schemas.microsoft.com/office/drawing/2014/main" id="{C225C0B9-A0BF-44AE-98AD-6915D3F4197B}"/>
              </a:ext>
            </a:extLst>
          </p:cNvPr>
          <p:cNvSpPr txBox="1"/>
          <p:nvPr/>
        </p:nvSpPr>
        <p:spPr>
          <a:xfrm>
            <a:off x="371475" y="3711143"/>
            <a:ext cx="2833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err="1">
                <a:solidFill>
                  <a:srgbClr val="2C2F34"/>
                </a:solidFill>
                <a:latin typeface="+mj-lt"/>
                <a:ea typeface="Lato" charset="0"/>
                <a:cs typeface="Lato" charset="0"/>
              </a:rPr>
              <a:t>abc</a:t>
            </a:r>
            <a:endParaRPr lang="en-US" sz="1600">
              <a:solidFill>
                <a:srgbClr val="2C2F34"/>
              </a:solidFill>
              <a:latin typeface="+mj-lt"/>
              <a:ea typeface="Lato" charset="0"/>
              <a:cs typeface="Lato" charset="0"/>
            </a:endParaRPr>
          </a:p>
        </p:txBody>
      </p:sp>
      <p:sp>
        <p:nvSpPr>
          <p:cNvPr id="97" name="CuadroTexto 395">
            <a:extLst>
              <a:ext uri="{FF2B5EF4-FFF2-40B4-BE49-F238E27FC236}">
                <a16:creationId xmlns:a16="http://schemas.microsoft.com/office/drawing/2014/main" id="{86BA6F66-1B89-4AEE-BC78-D0FFFBC80F48}"/>
              </a:ext>
            </a:extLst>
          </p:cNvPr>
          <p:cNvSpPr txBox="1"/>
          <p:nvPr/>
        </p:nvSpPr>
        <p:spPr>
          <a:xfrm>
            <a:off x="9032957" y="1790721"/>
            <a:ext cx="26936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Text</a:t>
            </a:r>
          </a:p>
        </p:txBody>
      </p:sp>
      <p:sp>
        <p:nvSpPr>
          <p:cNvPr id="24" name="Rechteck 1">
            <a:extLst>
              <a:ext uri="{FF2B5EF4-FFF2-40B4-BE49-F238E27FC236}">
                <a16:creationId xmlns:a16="http://schemas.microsoft.com/office/drawing/2014/main" id="{B5703E5A-57AA-46AD-8E68-3A184C8C09AB}"/>
              </a:ext>
            </a:extLst>
          </p:cNvPr>
          <p:cNvSpPr/>
          <p:nvPr/>
        </p:nvSpPr>
        <p:spPr>
          <a:xfrm>
            <a:off x="10860000" y="324797"/>
            <a:ext cx="1332000" cy="258532"/>
          </a:xfrm>
          <a:custGeom>
            <a:avLst/>
            <a:gdLst>
              <a:gd name="connsiteX0" fmla="*/ 0 w 1256400"/>
              <a:gd name="connsiteY0" fmla="*/ 0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0 w 1256400"/>
              <a:gd name="connsiteY4" fmla="*/ 0 h 258532"/>
              <a:gd name="connsiteX0" fmla="*/ 92869 w 1256400"/>
              <a:gd name="connsiteY0" fmla="*/ 2382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92869 w 1256400"/>
              <a:gd name="connsiteY4" fmla="*/ 2382 h 25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400" h="258532">
                <a:moveTo>
                  <a:pt x="92869" y="2382"/>
                </a:moveTo>
                <a:lnTo>
                  <a:pt x="1256400" y="0"/>
                </a:lnTo>
                <a:lnTo>
                  <a:pt x="1256400" y="258532"/>
                </a:lnTo>
                <a:lnTo>
                  <a:pt x="0" y="258532"/>
                </a:lnTo>
                <a:lnTo>
                  <a:pt x="92869" y="2382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80000" anchor="ctr">
            <a:spAutoFit/>
          </a:bodyPr>
          <a:lstStyle/>
          <a:p>
            <a:pPr algn="r" defTabSz="914400">
              <a:lnSpc>
                <a:spcPct val="90000"/>
              </a:lnSpc>
              <a:spcBef>
                <a:spcPts val="1000"/>
              </a:spcBef>
            </a:pPr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C563518C-D845-47F7-976E-845D8E95EF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1964953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18260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21">
            <a:extLst>
              <a:ext uri="{FF2B5EF4-FFF2-40B4-BE49-F238E27FC236}">
                <a16:creationId xmlns:a16="http://schemas.microsoft.com/office/drawing/2014/main" id="{42B17E45-9567-4FE3-A8A4-2E96031431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114873"/>
              </p:ext>
            </p:extLst>
          </p:nvPr>
        </p:nvGraphicFramePr>
        <p:xfrm>
          <a:off x="382947" y="3413412"/>
          <a:ext cx="6830362" cy="2903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1572">
                  <a:extLst>
                    <a:ext uri="{9D8B030D-6E8A-4147-A177-3AD203B41FA5}">
                      <a16:colId xmlns:a16="http://schemas.microsoft.com/office/drawing/2014/main" val="1214783569"/>
                    </a:ext>
                  </a:extLst>
                </a:gridCol>
                <a:gridCol w="1138790">
                  <a:extLst>
                    <a:ext uri="{9D8B030D-6E8A-4147-A177-3AD203B41FA5}">
                      <a16:colId xmlns:a16="http://schemas.microsoft.com/office/drawing/2014/main" val="469943298"/>
                    </a:ext>
                  </a:extLst>
                </a:gridCol>
              </a:tblGrid>
              <a:tr h="347195">
                <a:tc gridSpan="2">
                  <a:txBody>
                    <a:bodyPr/>
                    <a:lstStyle/>
                    <a:p>
                      <a:pPr marL="360363" indent="0"/>
                      <a:r>
                        <a:rPr lang="de-DE" sz="1600" b="0">
                          <a:latin typeface="Taz Bold (Überschriften)"/>
                        </a:rPr>
                        <a:t>Wie gehe ich vor?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5966329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r>
                        <a:rPr lang="de-DE" sz="1200">
                          <a:solidFill>
                            <a:schemeClr val="accent4"/>
                          </a:solidFill>
                          <a:latin typeface="Taz (Textkörper)"/>
                        </a:rPr>
                        <a:t>Aufgab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390365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r>
                        <a:rPr lang="de-DE" sz="1200">
                          <a:solidFill>
                            <a:schemeClr val="accent4"/>
                          </a:solidFill>
                          <a:latin typeface="Taz (Textkörper)"/>
                        </a:rPr>
                        <a:t>Aufgab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2288208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r>
                        <a:rPr lang="de-DE" sz="1200">
                          <a:solidFill>
                            <a:schemeClr val="accent4"/>
                          </a:solidFill>
                          <a:latin typeface="Taz (Textkörper)"/>
                        </a:rPr>
                        <a:t>Aufgab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8528319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5181567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1098978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5647165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2510647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lvl="1" indent="0" defTabSz="914400">
                        <a:spcBef>
                          <a:spcPts val="400"/>
                        </a:spcBef>
                        <a:buClr>
                          <a:schemeClr val="accent6"/>
                        </a:buClr>
                        <a:buFontTx/>
                        <a:buNone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1674188"/>
                  </a:ext>
                </a:extLst>
              </a:tr>
              <a:tr h="28406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de-DE" sz="1200">
                        <a:solidFill>
                          <a:schemeClr val="accent4"/>
                        </a:solidFill>
                        <a:latin typeface="Taz (Textkörper)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77093"/>
                  </a:ext>
                </a:extLst>
              </a:tr>
            </a:tbl>
          </a:graphicData>
        </a:graphic>
      </p:graphicFrame>
      <p:sp>
        <p:nvSpPr>
          <p:cNvPr id="36" name="Rechteck: eine Ecke abgeschnitten 35">
            <a:extLst>
              <a:ext uri="{FF2B5EF4-FFF2-40B4-BE49-F238E27FC236}">
                <a16:creationId xmlns:a16="http://schemas.microsoft.com/office/drawing/2014/main" id="{80645671-2A22-4219-829C-99353E70C08A}"/>
              </a:ext>
            </a:extLst>
          </p:cNvPr>
          <p:cNvSpPr/>
          <p:nvPr/>
        </p:nvSpPr>
        <p:spPr>
          <a:xfrm flipH="1">
            <a:off x="360005" y="2368627"/>
            <a:ext cx="6841833" cy="909786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</p:txBody>
      </p:sp>
      <p:sp>
        <p:nvSpPr>
          <p:cNvPr id="37" name="Freeform 209">
            <a:extLst>
              <a:ext uri="{FF2B5EF4-FFF2-40B4-BE49-F238E27FC236}">
                <a16:creationId xmlns:a16="http://schemas.microsoft.com/office/drawing/2014/main" id="{44A81663-CCC5-4B74-AC3D-7378A43974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1928326"/>
            <a:ext cx="6830364" cy="340173"/>
          </a:xfrm>
          <a:prstGeom prst="rect">
            <a:avLst/>
          </a:prstGeom>
          <a:solidFill>
            <a:srgbClr val="EE1F26"/>
          </a:solidFill>
          <a:ln>
            <a:noFill/>
          </a:ln>
          <a:effectLst/>
        </p:spPr>
        <p:txBody>
          <a:bodyPr wrap="none" bIns="72000" anchor="ctr"/>
          <a:lstStyle/>
          <a:p>
            <a:pPr marL="358775"/>
            <a:r>
              <a:rPr lang="en-US" sz="1600">
                <a:solidFill>
                  <a:schemeClr val="bg1"/>
                </a:solidFill>
                <a:latin typeface="+mj-lt"/>
                <a:ea typeface="Lato" charset="0"/>
                <a:cs typeface="Lato" charset="0"/>
              </a:rPr>
              <a:t>Was will ich erreichen?</a:t>
            </a:r>
          </a:p>
        </p:txBody>
      </p:sp>
      <p:sp>
        <p:nvSpPr>
          <p:cNvPr id="38" name="Rechteck: eine Ecke abgeschnitten 37">
            <a:extLst>
              <a:ext uri="{FF2B5EF4-FFF2-40B4-BE49-F238E27FC236}">
                <a16:creationId xmlns:a16="http://schemas.microsoft.com/office/drawing/2014/main" id="{5D4B0C6A-44E3-49E7-841C-B2D7DA46EB3F}"/>
              </a:ext>
            </a:extLst>
          </p:cNvPr>
          <p:cNvSpPr/>
          <p:nvPr/>
        </p:nvSpPr>
        <p:spPr>
          <a:xfrm flipH="1">
            <a:off x="7309411" y="2368627"/>
            <a:ext cx="4511107" cy="4290357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lvl="1" defTabSz="914400">
              <a:spcBef>
                <a:spcPts val="400"/>
              </a:spcBef>
              <a:buClr>
                <a:schemeClr val="accent6"/>
              </a:buClr>
              <a:defRPr/>
            </a:pPr>
            <a:r>
              <a:rPr lang="de-DE" sz="1200" b="1">
                <a:solidFill>
                  <a:srgbClr val="323332"/>
                </a:solidFill>
                <a:latin typeface="Taz (Textkörper)"/>
              </a:rPr>
              <a:t>Vor dem Termin: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0" lvl="1" defTabSz="914400">
              <a:spcBef>
                <a:spcPts val="400"/>
              </a:spcBef>
              <a:buClr>
                <a:schemeClr val="accent6"/>
              </a:buClr>
              <a:defRPr/>
            </a:pPr>
            <a:r>
              <a:rPr lang="de-DE" sz="1200" b="1">
                <a:solidFill>
                  <a:schemeClr val="accent4"/>
                </a:solidFill>
                <a:latin typeface="Taz (Textkörper)"/>
              </a:rPr>
              <a:t>Im Termin: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rgbClr val="323332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 err="1">
                <a:solidFill>
                  <a:srgbClr val="323332"/>
                </a:solidFill>
                <a:latin typeface="Taz (Textkörper)"/>
              </a:rPr>
              <a:t>abc</a:t>
            </a:r>
            <a:endParaRPr lang="de-DE" sz="1200">
              <a:solidFill>
                <a:srgbClr val="323332"/>
              </a:solidFill>
              <a:latin typeface="Taz (Textkörper)"/>
            </a:endParaRPr>
          </a:p>
          <a:p>
            <a:pPr marL="0" lvl="1" defTabSz="914400">
              <a:spcBef>
                <a:spcPts val="400"/>
              </a:spcBef>
              <a:buClr>
                <a:schemeClr val="accent6"/>
              </a:buClr>
              <a:defRPr/>
            </a:pPr>
            <a:r>
              <a:rPr lang="de-DE" sz="1200" b="1">
                <a:solidFill>
                  <a:schemeClr val="accent4"/>
                </a:solidFill>
                <a:latin typeface="Taz (Textkörper)"/>
              </a:rPr>
              <a:t>Nach dem Termin: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chemeClr val="accent4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>
                <a:solidFill>
                  <a:schemeClr val="accent4"/>
                </a:solidFill>
                <a:latin typeface="Taz (Textkörper)"/>
              </a:rPr>
              <a:t>Abc</a:t>
            </a:r>
          </a:p>
          <a:p>
            <a:pPr marL="285750" lvl="1" indent="-285750" defTabSz="914400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/>
            </a:pPr>
            <a:r>
              <a:rPr lang="de-DE" sz="1200" err="1">
                <a:solidFill>
                  <a:schemeClr val="accent4"/>
                </a:solidFill>
                <a:latin typeface="Taz (Textkörper)"/>
              </a:rPr>
              <a:t>abc</a:t>
            </a:r>
            <a:endParaRPr lang="de-DE" sz="1200">
              <a:solidFill>
                <a:schemeClr val="accent4"/>
              </a:solidFill>
              <a:latin typeface="Taz (Textkörper)"/>
            </a:endParaRPr>
          </a:p>
        </p:txBody>
      </p:sp>
      <p:sp>
        <p:nvSpPr>
          <p:cNvPr id="40" name="Freeform 209">
            <a:extLst>
              <a:ext uri="{FF2B5EF4-FFF2-40B4-BE49-F238E27FC236}">
                <a16:creationId xmlns:a16="http://schemas.microsoft.com/office/drawing/2014/main" id="{7DA2D960-1AB0-4D60-BCB6-911646AA3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6569" y="1928326"/>
            <a:ext cx="4511107" cy="340173"/>
          </a:xfrm>
          <a:prstGeom prst="rect">
            <a:avLst/>
          </a:prstGeom>
          <a:solidFill>
            <a:srgbClr val="EE1F26"/>
          </a:solidFill>
          <a:ln>
            <a:noFill/>
          </a:ln>
          <a:effectLst/>
        </p:spPr>
        <p:txBody>
          <a:bodyPr wrap="none" bIns="72000" anchor="ctr"/>
          <a:lstStyle/>
          <a:p>
            <a:pPr marL="358775"/>
            <a:r>
              <a:rPr lang="en-US" sz="1600" err="1">
                <a:solidFill>
                  <a:schemeClr val="bg1"/>
                </a:solidFill>
                <a:latin typeface="+mj-lt"/>
              </a:rPr>
              <a:t>Meine</a:t>
            </a:r>
            <a:r>
              <a:rPr lang="en-US" sz="1600">
                <a:solidFill>
                  <a:schemeClr val="bg1"/>
                </a:solidFill>
                <a:latin typeface="+mj-lt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+mj-lt"/>
              </a:rPr>
              <a:t>Checkliste</a:t>
            </a: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5" name="Grafik 54" descr="Volltreffer mit einfarbiger Füllung">
            <a:extLst>
              <a:ext uri="{FF2B5EF4-FFF2-40B4-BE49-F238E27FC236}">
                <a16:creationId xmlns:a16="http://schemas.microsoft.com/office/drawing/2014/main" id="{4E89620B-BB2F-4663-8F20-356E7C79DC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2007" y="1916113"/>
            <a:ext cx="355414" cy="355414"/>
          </a:xfrm>
          <a:prstGeom prst="rect">
            <a:avLst/>
          </a:prstGeom>
        </p:spPr>
      </p:pic>
      <p:pic>
        <p:nvPicPr>
          <p:cNvPr id="58" name="Grafik 57" descr="Klemmbrett abgehakt mit einfarbiger Füllung">
            <a:extLst>
              <a:ext uri="{FF2B5EF4-FFF2-40B4-BE49-F238E27FC236}">
                <a16:creationId xmlns:a16="http://schemas.microsoft.com/office/drawing/2014/main" id="{FEE3C41A-CBA6-4396-BD63-FAE77E3048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61686" y="1913836"/>
            <a:ext cx="341893" cy="341893"/>
          </a:xfrm>
          <a:prstGeom prst="rect">
            <a:avLst/>
          </a:prstGeom>
        </p:spPr>
      </p:pic>
      <p:pic>
        <p:nvPicPr>
          <p:cNvPr id="59" name="Grafik 58" descr="Chevronpfeile mit einfarbiger Füllung">
            <a:extLst>
              <a:ext uri="{FF2B5EF4-FFF2-40B4-BE49-F238E27FC236}">
                <a16:creationId xmlns:a16="http://schemas.microsoft.com/office/drawing/2014/main" id="{46BBDA1B-7F4D-40F8-989E-00760B1EBC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8027" y="3379954"/>
            <a:ext cx="377921" cy="389251"/>
          </a:xfrm>
          <a:prstGeom prst="rect">
            <a:avLst/>
          </a:prstGeom>
        </p:spPr>
      </p:pic>
      <p:sp>
        <p:nvSpPr>
          <p:cNvPr id="41" name="Textplatzhalter 1">
            <a:extLst>
              <a:ext uri="{FF2B5EF4-FFF2-40B4-BE49-F238E27FC236}">
                <a16:creationId xmlns:a16="http://schemas.microsoft.com/office/drawing/2014/main" id="{FCC3CA12-24E7-4ABA-85BF-708A8B407C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2909833" cy="25853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03C2DE-C0A4-4C55-A6D1-36C8E88DCF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92CA332-690C-4199-BDE8-D20EC4DCD8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2" name="Rechteck 1">
            <a:extLst>
              <a:ext uri="{FF2B5EF4-FFF2-40B4-BE49-F238E27FC236}">
                <a16:creationId xmlns:a16="http://schemas.microsoft.com/office/drawing/2014/main" id="{7BC7A205-586F-4A2A-B011-9806F2D8661A}"/>
              </a:ext>
            </a:extLst>
          </p:cNvPr>
          <p:cNvSpPr/>
          <p:nvPr/>
        </p:nvSpPr>
        <p:spPr>
          <a:xfrm>
            <a:off x="10860000" y="324797"/>
            <a:ext cx="1332000" cy="258532"/>
          </a:xfrm>
          <a:custGeom>
            <a:avLst/>
            <a:gdLst>
              <a:gd name="connsiteX0" fmla="*/ 0 w 1256400"/>
              <a:gd name="connsiteY0" fmla="*/ 0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0 w 1256400"/>
              <a:gd name="connsiteY4" fmla="*/ 0 h 258532"/>
              <a:gd name="connsiteX0" fmla="*/ 92869 w 1256400"/>
              <a:gd name="connsiteY0" fmla="*/ 2382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92869 w 1256400"/>
              <a:gd name="connsiteY4" fmla="*/ 2382 h 25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400" h="258532">
                <a:moveTo>
                  <a:pt x="92869" y="2382"/>
                </a:moveTo>
                <a:lnTo>
                  <a:pt x="1256400" y="0"/>
                </a:lnTo>
                <a:lnTo>
                  <a:pt x="1256400" y="258532"/>
                </a:lnTo>
                <a:lnTo>
                  <a:pt x="0" y="258532"/>
                </a:lnTo>
                <a:lnTo>
                  <a:pt x="92869" y="2382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80000" anchor="ctr">
            <a:spAutoFit/>
          </a:bodyPr>
          <a:lstStyle/>
          <a:p>
            <a:pPr algn="r" defTabSz="914400">
              <a:lnSpc>
                <a:spcPct val="90000"/>
              </a:lnSpc>
              <a:spcBef>
                <a:spcPts val="1000"/>
              </a:spcBef>
            </a:pPr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7436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40236D-575A-4F09-8BBB-85B6C52B32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741" y="1149374"/>
            <a:ext cx="11438518" cy="387798"/>
          </a:xfrm>
        </p:spPr>
        <p:txBody>
          <a:bodyPr wrap="square" lIns="0" tIns="0" rIns="91440" bIns="0" anchor="t">
            <a:spAutoFit/>
          </a:bodyPr>
          <a:lstStyle/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F522440-4FC8-4DF9-AB97-7D36A6397B1E}"/>
              </a:ext>
            </a:extLst>
          </p:cNvPr>
          <p:cNvSpPr txBox="1">
            <a:spLocks/>
          </p:cNvSpPr>
          <p:nvPr/>
        </p:nvSpPr>
        <p:spPr>
          <a:xfrm>
            <a:off x="376741" y="748846"/>
            <a:ext cx="11438518" cy="387798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ZIELSETZUNG UND AGENDA</a:t>
            </a: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DAB8DFD8-B2B2-47A9-B3A6-8F760334C0B4}"/>
              </a:ext>
            </a:extLst>
          </p:cNvPr>
          <p:cNvSpPr txBox="1"/>
          <p:nvPr/>
        </p:nvSpPr>
        <p:spPr>
          <a:xfrm>
            <a:off x="1200948" y="1790721"/>
            <a:ext cx="35858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ZIELSETZUNG</a:t>
            </a:r>
          </a:p>
        </p:txBody>
      </p:sp>
      <p:sp>
        <p:nvSpPr>
          <p:cNvPr id="97" name="CuadroTexto 395">
            <a:extLst>
              <a:ext uri="{FF2B5EF4-FFF2-40B4-BE49-F238E27FC236}">
                <a16:creationId xmlns:a16="http://schemas.microsoft.com/office/drawing/2014/main" id="{86BA6F66-1B89-4AEE-BC78-D0FFFBC80F48}"/>
              </a:ext>
            </a:extLst>
          </p:cNvPr>
          <p:cNvSpPr txBox="1"/>
          <p:nvPr/>
        </p:nvSpPr>
        <p:spPr>
          <a:xfrm>
            <a:off x="6096000" y="1790721"/>
            <a:ext cx="56306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AGENDA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BDA1604-1FB5-4364-BECA-DE277E25D6E2}"/>
              </a:ext>
            </a:extLst>
          </p:cNvPr>
          <p:cNvGrpSpPr/>
          <p:nvPr/>
        </p:nvGrpSpPr>
        <p:grpSpPr>
          <a:xfrm>
            <a:off x="450266" y="5155282"/>
            <a:ext cx="4424648" cy="538684"/>
            <a:chOff x="450266" y="5564073"/>
            <a:chExt cx="4424648" cy="538684"/>
          </a:xfrm>
        </p:grpSpPr>
        <p:sp>
          <p:nvSpPr>
            <p:cNvPr id="71" name="CuadroTexto 395">
              <a:extLst>
                <a:ext uri="{FF2B5EF4-FFF2-40B4-BE49-F238E27FC236}">
                  <a16:creationId xmlns:a16="http://schemas.microsoft.com/office/drawing/2014/main" id="{264B1BEC-9FD9-4219-AF34-698558553C94}"/>
                </a:ext>
              </a:extLst>
            </p:cNvPr>
            <p:cNvSpPr txBox="1"/>
            <p:nvPr/>
          </p:nvSpPr>
          <p:spPr>
            <a:xfrm>
              <a:off x="1204904" y="5664138"/>
              <a:ext cx="36700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Ziel 5</a:t>
              </a:r>
            </a:p>
          </p:txBody>
        </p:sp>
        <p:pic>
          <p:nvPicPr>
            <p:cNvPr id="43" name="Grafik 42" descr="Volltreffer mit einfarbiger Füllung">
              <a:extLst>
                <a:ext uri="{FF2B5EF4-FFF2-40B4-BE49-F238E27FC236}">
                  <a16:creationId xmlns:a16="http://schemas.microsoft.com/office/drawing/2014/main" id="{C056D9D8-6565-4E13-88BD-3155D63AB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266" y="5564073"/>
              <a:ext cx="538684" cy="538684"/>
            </a:xfrm>
            <a:prstGeom prst="rect">
              <a:avLst/>
            </a:prstGeom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596D87F-8D92-47E2-B2EC-C896401AB90D}"/>
              </a:ext>
            </a:extLst>
          </p:cNvPr>
          <p:cNvGrpSpPr/>
          <p:nvPr/>
        </p:nvGrpSpPr>
        <p:grpSpPr>
          <a:xfrm>
            <a:off x="450266" y="4431482"/>
            <a:ext cx="4424648" cy="558281"/>
            <a:chOff x="450266" y="4605540"/>
            <a:chExt cx="4424648" cy="558281"/>
          </a:xfrm>
        </p:grpSpPr>
        <p:sp>
          <p:nvSpPr>
            <p:cNvPr id="26" name="CuadroTexto 395">
              <a:extLst>
                <a:ext uri="{FF2B5EF4-FFF2-40B4-BE49-F238E27FC236}">
                  <a16:creationId xmlns:a16="http://schemas.microsoft.com/office/drawing/2014/main" id="{3DC79004-0069-4043-9D2A-13E0E81E1FEE}"/>
                </a:ext>
              </a:extLst>
            </p:cNvPr>
            <p:cNvSpPr txBox="1"/>
            <p:nvPr/>
          </p:nvSpPr>
          <p:spPr>
            <a:xfrm>
              <a:off x="1204903" y="4605540"/>
              <a:ext cx="36700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Ziel 4</a:t>
              </a:r>
            </a:p>
          </p:txBody>
        </p:sp>
        <p:pic>
          <p:nvPicPr>
            <p:cNvPr id="47" name="Grafik 46" descr="Volltreffer mit einfarbiger Füllung">
              <a:extLst>
                <a:ext uri="{FF2B5EF4-FFF2-40B4-BE49-F238E27FC236}">
                  <a16:creationId xmlns:a16="http://schemas.microsoft.com/office/drawing/2014/main" id="{388B5578-3932-4EE8-9CE3-411B0D536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266" y="4625137"/>
              <a:ext cx="538684" cy="538684"/>
            </a:xfrm>
            <a:prstGeom prst="rect">
              <a:avLst/>
            </a:prstGeom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EE1BE56-9374-486D-9670-4334B5690BA5}"/>
              </a:ext>
            </a:extLst>
          </p:cNvPr>
          <p:cNvGrpSpPr/>
          <p:nvPr/>
        </p:nvGrpSpPr>
        <p:grpSpPr>
          <a:xfrm>
            <a:off x="450266" y="3042677"/>
            <a:ext cx="4424745" cy="538684"/>
            <a:chOff x="450266" y="3277411"/>
            <a:chExt cx="4424745" cy="538684"/>
          </a:xfrm>
        </p:grpSpPr>
        <p:sp>
          <p:nvSpPr>
            <p:cNvPr id="96" name="CuadroTexto 395">
              <a:extLst>
                <a:ext uri="{FF2B5EF4-FFF2-40B4-BE49-F238E27FC236}">
                  <a16:creationId xmlns:a16="http://schemas.microsoft.com/office/drawing/2014/main" id="{C225C0B9-A0BF-44AE-98AD-6915D3F4197B}"/>
                </a:ext>
              </a:extLst>
            </p:cNvPr>
            <p:cNvSpPr txBox="1"/>
            <p:nvPr/>
          </p:nvSpPr>
          <p:spPr>
            <a:xfrm>
              <a:off x="1200947" y="3377476"/>
              <a:ext cx="36740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Ziel 2</a:t>
              </a:r>
            </a:p>
          </p:txBody>
        </p:sp>
        <p:pic>
          <p:nvPicPr>
            <p:cNvPr id="50" name="Grafik 49" descr="Volltreffer mit einfarbiger Füllung">
              <a:extLst>
                <a:ext uri="{FF2B5EF4-FFF2-40B4-BE49-F238E27FC236}">
                  <a16:creationId xmlns:a16="http://schemas.microsoft.com/office/drawing/2014/main" id="{A2854B8E-7412-44AE-A0D2-C852DC50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266" y="3277411"/>
              <a:ext cx="538684" cy="538684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747538D-95DB-41DB-B907-2B808A8E75F4}"/>
              </a:ext>
            </a:extLst>
          </p:cNvPr>
          <p:cNvGrpSpPr/>
          <p:nvPr/>
        </p:nvGrpSpPr>
        <p:grpSpPr>
          <a:xfrm>
            <a:off x="450266" y="2326819"/>
            <a:ext cx="4424746" cy="550341"/>
            <a:chOff x="450266" y="2326819"/>
            <a:chExt cx="4424746" cy="550341"/>
          </a:xfrm>
        </p:grpSpPr>
        <p:sp>
          <p:nvSpPr>
            <p:cNvPr id="65" name="CuadroTexto 395">
              <a:extLst>
                <a:ext uri="{FF2B5EF4-FFF2-40B4-BE49-F238E27FC236}">
                  <a16:creationId xmlns:a16="http://schemas.microsoft.com/office/drawing/2014/main" id="{8DAF6629-5BA4-482E-8842-03213E1FBD7A}"/>
                </a:ext>
              </a:extLst>
            </p:cNvPr>
            <p:cNvSpPr txBox="1"/>
            <p:nvPr/>
          </p:nvSpPr>
          <p:spPr>
            <a:xfrm>
              <a:off x="1200947" y="2326819"/>
              <a:ext cx="36740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Ziel 1</a:t>
              </a:r>
            </a:p>
          </p:txBody>
        </p:sp>
        <p:pic>
          <p:nvPicPr>
            <p:cNvPr id="53" name="Grafik 52" descr="Volltreffer mit einfarbiger Füllung">
              <a:extLst>
                <a:ext uri="{FF2B5EF4-FFF2-40B4-BE49-F238E27FC236}">
                  <a16:creationId xmlns:a16="http://schemas.microsoft.com/office/drawing/2014/main" id="{FA31805F-847A-427E-B58A-0E57B78424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266" y="2338476"/>
              <a:ext cx="538684" cy="538684"/>
            </a:xfrm>
            <a:prstGeom prst="rect">
              <a:avLst/>
            </a:prstGeom>
          </p:spPr>
        </p:pic>
      </p:grpSp>
      <p:sp>
        <p:nvSpPr>
          <p:cNvPr id="55" name="Grafik 128">
            <a:extLst>
              <a:ext uri="{FF2B5EF4-FFF2-40B4-BE49-F238E27FC236}">
                <a16:creationId xmlns:a16="http://schemas.microsoft.com/office/drawing/2014/main" id="{09FE5087-3367-45F2-8DA8-DD0FAA41CAFE}"/>
              </a:ext>
            </a:extLst>
          </p:cNvPr>
          <p:cNvSpPr/>
          <p:nvPr/>
        </p:nvSpPr>
        <p:spPr>
          <a:xfrm>
            <a:off x="7105555" y="2379305"/>
            <a:ext cx="382365" cy="387798"/>
          </a:xfrm>
          <a:custGeom>
            <a:avLst/>
            <a:gdLst>
              <a:gd name="connsiteX0" fmla="*/ 269213 w 851602"/>
              <a:gd name="connsiteY0" fmla="*/ 36459 h 877845"/>
              <a:gd name="connsiteX1" fmla="*/ 114856 w 851602"/>
              <a:gd name="connsiteY1" fmla="*/ 128315 h 877845"/>
              <a:gd name="connsiteX2" fmla="*/ 4533 w 851602"/>
              <a:gd name="connsiteY2" fmla="*/ 336650 h 877845"/>
              <a:gd name="connsiteX3" fmla="*/ 64666 w 851602"/>
              <a:gd name="connsiteY3" fmla="*/ 670458 h 877845"/>
              <a:gd name="connsiteX4" fmla="*/ 244118 w 851602"/>
              <a:gd name="connsiteY4" fmla="*/ 827183 h 877845"/>
              <a:gd name="connsiteX5" fmla="*/ 396107 w 851602"/>
              <a:gd name="connsiteY5" fmla="*/ 866482 h 877845"/>
              <a:gd name="connsiteX6" fmla="*/ 562302 w 851602"/>
              <a:gd name="connsiteY6" fmla="*/ 857959 h 877845"/>
              <a:gd name="connsiteX7" fmla="*/ 721393 w 851602"/>
              <a:gd name="connsiteY7" fmla="*/ 761841 h 877845"/>
              <a:gd name="connsiteX8" fmla="*/ 802833 w 851602"/>
              <a:gd name="connsiteY8" fmla="*/ 624057 h 877845"/>
              <a:gd name="connsiteX9" fmla="*/ 851602 w 851602"/>
              <a:gd name="connsiteY9" fmla="*/ 473961 h 877845"/>
              <a:gd name="connsiteX10" fmla="*/ 769689 w 851602"/>
              <a:gd name="connsiteY10" fmla="*/ 178031 h 877845"/>
              <a:gd name="connsiteX11" fmla="*/ 636166 w 851602"/>
              <a:gd name="connsiteY11" fmla="*/ 65341 h 877845"/>
              <a:gd name="connsiteX12" fmla="*/ 440142 w 851602"/>
              <a:gd name="connsiteY12" fmla="*/ 0 h 877845"/>
              <a:gd name="connsiteX13" fmla="*/ 269213 w 851602"/>
              <a:gd name="connsiteY13" fmla="*/ 36459 h 87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51602" h="877845">
                <a:moveTo>
                  <a:pt x="269213" y="36459"/>
                </a:moveTo>
                <a:cubicBezTo>
                  <a:pt x="227546" y="55398"/>
                  <a:pt x="144212" y="92804"/>
                  <a:pt x="114856" y="128315"/>
                </a:cubicBezTo>
                <a:cubicBezTo>
                  <a:pt x="85500" y="163827"/>
                  <a:pt x="25367" y="215910"/>
                  <a:pt x="4533" y="336650"/>
                </a:cubicBezTo>
                <a:cubicBezTo>
                  <a:pt x="-16300" y="457389"/>
                  <a:pt x="40045" y="639208"/>
                  <a:pt x="64666" y="670458"/>
                </a:cubicBezTo>
                <a:cubicBezTo>
                  <a:pt x="89761" y="701708"/>
                  <a:pt x="156523" y="810611"/>
                  <a:pt x="244118" y="827183"/>
                </a:cubicBezTo>
                <a:cubicBezTo>
                  <a:pt x="300463" y="856065"/>
                  <a:pt x="329819" y="866482"/>
                  <a:pt x="396107" y="866482"/>
                </a:cubicBezTo>
                <a:cubicBezTo>
                  <a:pt x="446297" y="878793"/>
                  <a:pt x="495066" y="887315"/>
                  <a:pt x="562302" y="857959"/>
                </a:cubicBezTo>
                <a:cubicBezTo>
                  <a:pt x="629537" y="828603"/>
                  <a:pt x="710977" y="778887"/>
                  <a:pt x="721393" y="761841"/>
                </a:cubicBezTo>
                <a:cubicBezTo>
                  <a:pt x="731810" y="744796"/>
                  <a:pt x="798572" y="669985"/>
                  <a:pt x="802833" y="624057"/>
                </a:cubicBezTo>
                <a:cubicBezTo>
                  <a:pt x="807095" y="578128"/>
                  <a:pt x="851602" y="557295"/>
                  <a:pt x="851602" y="473961"/>
                </a:cubicBezTo>
                <a:cubicBezTo>
                  <a:pt x="851602" y="390627"/>
                  <a:pt x="796678" y="203126"/>
                  <a:pt x="769689" y="178031"/>
                </a:cubicBezTo>
                <a:cubicBezTo>
                  <a:pt x="742700" y="152936"/>
                  <a:pt x="663154" y="84281"/>
                  <a:pt x="636166" y="65341"/>
                </a:cubicBezTo>
                <a:cubicBezTo>
                  <a:pt x="609177" y="46402"/>
                  <a:pt x="498381" y="0"/>
                  <a:pt x="440142" y="0"/>
                </a:cubicBezTo>
                <a:cubicBezTo>
                  <a:pt x="381903" y="0"/>
                  <a:pt x="312300" y="16572"/>
                  <a:pt x="269213" y="36459"/>
                </a:cubicBezTo>
                <a:close/>
              </a:path>
            </a:pathLst>
          </a:custGeom>
          <a:solidFill>
            <a:srgbClr val="494949"/>
          </a:solidFill>
          <a:ln w="4718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de-DE" sz="2000" b="1">
                <a:solidFill>
                  <a:schemeClr val="bg1"/>
                </a:solidFill>
              </a:rPr>
              <a:t>1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79DC1FF7-FA6B-4DF5-9679-50F03CBBAD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212772"/>
              </p:ext>
            </p:extLst>
          </p:nvPr>
        </p:nvGraphicFramePr>
        <p:xfrm>
          <a:off x="6096000" y="2233643"/>
          <a:ext cx="5724525" cy="3688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200">
                  <a:extLst>
                    <a:ext uri="{9D8B030D-6E8A-4147-A177-3AD203B41FA5}">
                      <a16:colId xmlns:a16="http://schemas.microsoft.com/office/drawing/2014/main" val="108502708"/>
                    </a:ext>
                  </a:extLst>
                </a:gridCol>
                <a:gridCol w="3997325">
                  <a:extLst>
                    <a:ext uri="{9D8B030D-6E8A-4147-A177-3AD203B41FA5}">
                      <a16:colId xmlns:a16="http://schemas.microsoft.com/office/drawing/2014/main" val="3631363215"/>
                    </a:ext>
                  </a:extLst>
                </a:gridCol>
              </a:tblGrid>
              <a:tr h="314575">
                <a:tc>
                  <a:txBody>
                    <a:bodyPr/>
                    <a:lstStyle/>
                    <a:p>
                      <a:r>
                        <a:rPr lang="de-DE" sz="1600"/>
                        <a:t>Uhrzei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Them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541865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229013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2649505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6662565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9166704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509638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9112597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016538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4171706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365272"/>
                  </a:ext>
                </a:extLst>
              </a:tr>
              <a:tr h="3145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949930"/>
                  </a:ext>
                </a:extLst>
              </a:tr>
            </a:tbl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62FE0C6-545B-4890-9C5B-88452608112F}"/>
              </a:ext>
            </a:extLst>
          </p:cNvPr>
          <p:cNvGrpSpPr/>
          <p:nvPr/>
        </p:nvGrpSpPr>
        <p:grpSpPr>
          <a:xfrm>
            <a:off x="450266" y="3746878"/>
            <a:ext cx="4424746" cy="538684"/>
            <a:chOff x="450266" y="3916606"/>
            <a:chExt cx="4424746" cy="538684"/>
          </a:xfrm>
        </p:grpSpPr>
        <p:sp>
          <p:nvSpPr>
            <p:cNvPr id="25" name="CuadroTexto 395">
              <a:extLst>
                <a:ext uri="{FF2B5EF4-FFF2-40B4-BE49-F238E27FC236}">
                  <a16:creationId xmlns:a16="http://schemas.microsoft.com/office/drawing/2014/main" id="{B25ED390-54EA-4D54-863A-3DBE2B6D79FC}"/>
                </a:ext>
              </a:extLst>
            </p:cNvPr>
            <p:cNvSpPr txBox="1"/>
            <p:nvPr/>
          </p:nvSpPr>
          <p:spPr>
            <a:xfrm>
              <a:off x="1200948" y="4027472"/>
              <a:ext cx="36740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914400">
                <a:spcBef>
                  <a:spcPts val="400"/>
                </a:spcBef>
                <a:buClr>
                  <a:schemeClr val="accent6"/>
                </a:buClr>
                <a:defRPr/>
              </a:pPr>
              <a:r>
                <a:rPr lang="de-DE" sz="1600">
                  <a:solidFill>
                    <a:srgbClr val="323332"/>
                  </a:solidFill>
                  <a:latin typeface="Taz (Textkörper)"/>
                </a:rPr>
                <a:t>Ziel 3</a:t>
              </a:r>
            </a:p>
          </p:txBody>
        </p:sp>
        <p:pic>
          <p:nvPicPr>
            <p:cNvPr id="29" name="Grafik 28" descr="Volltreffer mit einfarbiger Füllung">
              <a:extLst>
                <a:ext uri="{FF2B5EF4-FFF2-40B4-BE49-F238E27FC236}">
                  <a16:creationId xmlns:a16="http://schemas.microsoft.com/office/drawing/2014/main" id="{C41A71E9-C227-40C9-B0A4-021808F01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266" y="3916606"/>
              <a:ext cx="538684" cy="538684"/>
            </a:xfrm>
            <a:prstGeom prst="rect">
              <a:avLst/>
            </a:prstGeom>
          </p:spPr>
        </p:pic>
      </p:grpSp>
      <p:sp>
        <p:nvSpPr>
          <p:cNvPr id="35" name="Rechteck 1">
            <a:extLst>
              <a:ext uri="{FF2B5EF4-FFF2-40B4-BE49-F238E27FC236}">
                <a16:creationId xmlns:a16="http://schemas.microsoft.com/office/drawing/2014/main" id="{5F02E507-03AE-41D9-A3A5-391468B37413}"/>
              </a:ext>
            </a:extLst>
          </p:cNvPr>
          <p:cNvSpPr/>
          <p:nvPr/>
        </p:nvSpPr>
        <p:spPr>
          <a:xfrm>
            <a:off x="10860000" y="324797"/>
            <a:ext cx="1332000" cy="258532"/>
          </a:xfrm>
          <a:custGeom>
            <a:avLst/>
            <a:gdLst>
              <a:gd name="connsiteX0" fmla="*/ 0 w 1256400"/>
              <a:gd name="connsiteY0" fmla="*/ 0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0 w 1256400"/>
              <a:gd name="connsiteY4" fmla="*/ 0 h 258532"/>
              <a:gd name="connsiteX0" fmla="*/ 92869 w 1256400"/>
              <a:gd name="connsiteY0" fmla="*/ 2382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92869 w 1256400"/>
              <a:gd name="connsiteY4" fmla="*/ 2382 h 25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400" h="258532">
                <a:moveTo>
                  <a:pt x="92869" y="2382"/>
                </a:moveTo>
                <a:lnTo>
                  <a:pt x="1256400" y="0"/>
                </a:lnTo>
                <a:lnTo>
                  <a:pt x="1256400" y="258532"/>
                </a:lnTo>
                <a:lnTo>
                  <a:pt x="0" y="258532"/>
                </a:lnTo>
                <a:lnTo>
                  <a:pt x="92869" y="2382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80000" anchor="ctr">
            <a:spAutoFit/>
          </a:bodyPr>
          <a:lstStyle/>
          <a:p>
            <a:pPr algn="r" defTabSz="914400">
              <a:lnSpc>
                <a:spcPct val="90000"/>
              </a:lnSpc>
              <a:spcBef>
                <a:spcPts val="1000"/>
              </a:spcBef>
            </a:pPr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5C890B65-EDA7-4CD3-9359-93B1FA3B2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1332000" cy="2585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83313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8678959-8501-4CDB-BFA2-24AFBC0245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1741433" cy="25853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3F53B1-50CC-413C-809C-3F24EED14B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Pause</a:t>
            </a:r>
          </a:p>
        </p:txBody>
      </p:sp>
      <p:sp>
        <p:nvSpPr>
          <p:cNvPr id="8" name="CuadroTexto 395">
            <a:extLst>
              <a:ext uri="{FF2B5EF4-FFF2-40B4-BE49-F238E27FC236}">
                <a16:creationId xmlns:a16="http://schemas.microsoft.com/office/drawing/2014/main" id="{FB628C32-8272-42A1-A986-38F62B8696E6}"/>
              </a:ext>
            </a:extLst>
          </p:cNvPr>
          <p:cNvSpPr txBox="1"/>
          <p:nvPr/>
        </p:nvSpPr>
        <p:spPr>
          <a:xfrm>
            <a:off x="5253726" y="3254445"/>
            <a:ext cx="59121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15 </a:t>
            </a:r>
            <a:r>
              <a:rPr lang="en-US" sz="4000" b="1" err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Minuten</a:t>
            </a:r>
            <a:r>
              <a:rPr lang="en-US" sz="4000" b="1">
                <a:solidFill>
                  <a:schemeClr val="accent6"/>
                </a:solidFill>
                <a:latin typeface="+mj-lt"/>
                <a:ea typeface="Lato" charset="0"/>
                <a:cs typeface="Lato" charset="0"/>
              </a:rPr>
              <a:t> Pause</a:t>
            </a:r>
          </a:p>
        </p:txBody>
      </p:sp>
      <p:pic>
        <p:nvPicPr>
          <p:cNvPr id="9" name="Grafik 8" descr="Kaffee mit einfarbiger Füllung">
            <a:extLst>
              <a:ext uri="{FF2B5EF4-FFF2-40B4-BE49-F238E27FC236}">
                <a16:creationId xmlns:a16="http://schemas.microsoft.com/office/drawing/2014/main" id="{CBB500EC-C4EB-419B-8AF9-40E0803AD7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23440" y="1898085"/>
            <a:ext cx="2712720" cy="2712720"/>
          </a:xfrm>
          <a:prstGeom prst="rect">
            <a:avLst/>
          </a:prstGeom>
        </p:spPr>
      </p:pic>
      <p:sp>
        <p:nvSpPr>
          <p:cNvPr id="10" name="Rechteck 1">
            <a:extLst>
              <a:ext uri="{FF2B5EF4-FFF2-40B4-BE49-F238E27FC236}">
                <a16:creationId xmlns:a16="http://schemas.microsoft.com/office/drawing/2014/main" id="{2462A16A-1E40-4523-9751-44C620CD1CF6}"/>
              </a:ext>
            </a:extLst>
          </p:cNvPr>
          <p:cNvSpPr/>
          <p:nvPr/>
        </p:nvSpPr>
        <p:spPr>
          <a:xfrm>
            <a:off x="10860000" y="324797"/>
            <a:ext cx="1332000" cy="258532"/>
          </a:xfrm>
          <a:custGeom>
            <a:avLst/>
            <a:gdLst>
              <a:gd name="connsiteX0" fmla="*/ 0 w 1256400"/>
              <a:gd name="connsiteY0" fmla="*/ 0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0 w 1256400"/>
              <a:gd name="connsiteY4" fmla="*/ 0 h 258532"/>
              <a:gd name="connsiteX0" fmla="*/ 92869 w 1256400"/>
              <a:gd name="connsiteY0" fmla="*/ 2382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92869 w 1256400"/>
              <a:gd name="connsiteY4" fmla="*/ 2382 h 25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400" h="258532">
                <a:moveTo>
                  <a:pt x="92869" y="2382"/>
                </a:moveTo>
                <a:lnTo>
                  <a:pt x="1256400" y="0"/>
                </a:lnTo>
                <a:lnTo>
                  <a:pt x="1256400" y="258532"/>
                </a:lnTo>
                <a:lnTo>
                  <a:pt x="0" y="258532"/>
                </a:lnTo>
                <a:lnTo>
                  <a:pt x="92869" y="2382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80000" anchor="ctr">
            <a:spAutoFit/>
          </a:bodyPr>
          <a:lstStyle/>
          <a:p>
            <a:pPr algn="r" defTabSz="914400">
              <a:lnSpc>
                <a:spcPct val="90000"/>
              </a:lnSpc>
              <a:spcBef>
                <a:spcPts val="1000"/>
              </a:spcBef>
            </a:pPr>
            <a:endParaRPr lang="de-DE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6926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8678959-8501-4CDB-BFA2-24AFBC0245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007" y="324797"/>
            <a:ext cx="2168153" cy="25853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3F53B1-50CC-413C-809C-3F24EED14B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03CD9F7-2EA9-43DC-9617-FFF749DE06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Rechteck 1">
            <a:extLst>
              <a:ext uri="{FF2B5EF4-FFF2-40B4-BE49-F238E27FC236}">
                <a16:creationId xmlns:a16="http://schemas.microsoft.com/office/drawing/2014/main" id="{107FE8C9-C203-424F-BA5D-ECE628CC0CF1}"/>
              </a:ext>
            </a:extLst>
          </p:cNvPr>
          <p:cNvSpPr/>
          <p:nvPr/>
        </p:nvSpPr>
        <p:spPr>
          <a:xfrm>
            <a:off x="10859845" y="324797"/>
            <a:ext cx="1332155" cy="258532"/>
          </a:xfrm>
          <a:custGeom>
            <a:avLst/>
            <a:gdLst>
              <a:gd name="connsiteX0" fmla="*/ 0 w 1256400"/>
              <a:gd name="connsiteY0" fmla="*/ 0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0 w 1256400"/>
              <a:gd name="connsiteY4" fmla="*/ 0 h 258532"/>
              <a:gd name="connsiteX0" fmla="*/ 92869 w 1256400"/>
              <a:gd name="connsiteY0" fmla="*/ 2382 h 258532"/>
              <a:gd name="connsiteX1" fmla="*/ 1256400 w 1256400"/>
              <a:gd name="connsiteY1" fmla="*/ 0 h 258532"/>
              <a:gd name="connsiteX2" fmla="*/ 1256400 w 1256400"/>
              <a:gd name="connsiteY2" fmla="*/ 258532 h 258532"/>
              <a:gd name="connsiteX3" fmla="*/ 0 w 1256400"/>
              <a:gd name="connsiteY3" fmla="*/ 258532 h 258532"/>
              <a:gd name="connsiteX4" fmla="*/ 92869 w 1256400"/>
              <a:gd name="connsiteY4" fmla="*/ 2382 h 25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400" h="258532">
                <a:moveTo>
                  <a:pt x="92869" y="2382"/>
                </a:moveTo>
                <a:lnTo>
                  <a:pt x="1256400" y="0"/>
                </a:lnTo>
                <a:lnTo>
                  <a:pt x="1256400" y="258532"/>
                </a:lnTo>
                <a:lnTo>
                  <a:pt x="0" y="258532"/>
                </a:lnTo>
                <a:lnTo>
                  <a:pt x="92869" y="2382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44000" rIns="180000" anchor="ctr">
            <a:spAutoFit/>
          </a:bodyPr>
          <a:lstStyle/>
          <a:p>
            <a:pPr algn="r" defTabSz="914400">
              <a:lnSpc>
                <a:spcPct val="90000"/>
              </a:lnSpc>
              <a:spcBef>
                <a:spcPts val="1000"/>
              </a:spcBef>
            </a:pPr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AE731F0-1BF3-48DE-A11E-FB6416EE71EC}"/>
              </a:ext>
            </a:extLst>
          </p:cNvPr>
          <p:cNvSpPr/>
          <p:nvPr/>
        </p:nvSpPr>
        <p:spPr>
          <a:xfrm>
            <a:off x="382007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DDAAAB6-31A5-4EFD-83D0-AB5389478F7F}"/>
              </a:ext>
            </a:extLst>
          </p:cNvPr>
          <p:cNvSpPr/>
          <p:nvPr/>
        </p:nvSpPr>
        <p:spPr>
          <a:xfrm>
            <a:off x="2054831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B0F4077-2E47-419D-97EF-608060A3E2A8}"/>
              </a:ext>
            </a:extLst>
          </p:cNvPr>
          <p:cNvSpPr/>
          <p:nvPr/>
        </p:nvSpPr>
        <p:spPr>
          <a:xfrm>
            <a:off x="3727655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E3FCEB5-5237-4723-B404-D2CEC9DF9248}"/>
              </a:ext>
            </a:extLst>
          </p:cNvPr>
          <p:cNvSpPr/>
          <p:nvPr/>
        </p:nvSpPr>
        <p:spPr>
          <a:xfrm>
            <a:off x="5400479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5323647-EF90-472F-AFC6-A24294EDFA1C}"/>
              </a:ext>
            </a:extLst>
          </p:cNvPr>
          <p:cNvSpPr/>
          <p:nvPr/>
        </p:nvSpPr>
        <p:spPr>
          <a:xfrm>
            <a:off x="7073303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2FC2366-6607-4CCA-86E8-684FD6F4BD19}"/>
              </a:ext>
            </a:extLst>
          </p:cNvPr>
          <p:cNvSpPr/>
          <p:nvPr/>
        </p:nvSpPr>
        <p:spPr>
          <a:xfrm>
            <a:off x="8746127" y="1915597"/>
            <a:ext cx="1152000" cy="1152000"/>
          </a:xfrm>
          <a:prstGeom prst="rect">
            <a:avLst/>
          </a:prstGeom>
          <a:solidFill>
            <a:srgbClr val="FFF4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9335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570B32B-56E4-44F1-ACF8-458F3544C0AE}"/>
              </a:ext>
            </a:extLst>
          </p:cNvPr>
          <p:cNvGrpSpPr/>
          <p:nvPr/>
        </p:nvGrpSpPr>
        <p:grpSpPr>
          <a:xfrm>
            <a:off x="0" y="6025896"/>
            <a:ext cx="12192000" cy="832104"/>
            <a:chOff x="0" y="6025896"/>
            <a:chExt cx="12192000" cy="832104"/>
          </a:xfrm>
          <a:solidFill>
            <a:srgbClr val="34373C"/>
          </a:solidFill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B910BBD-833A-4290-93A2-C61A753E4D35}"/>
                </a:ext>
              </a:extLst>
            </p:cNvPr>
            <p:cNvSpPr/>
            <p:nvPr/>
          </p:nvSpPr>
          <p:spPr>
            <a:xfrm>
              <a:off x="0" y="6025896"/>
              <a:ext cx="12192000" cy="83210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17" descr="Ein Bild, das Zeichnung, Schild, sitzend, Teller enthält.&#10;&#10;Automatisch generierte Beschreibung">
              <a:extLst>
                <a:ext uri="{FF2B5EF4-FFF2-40B4-BE49-F238E27FC236}">
                  <a16:creationId xmlns:a16="http://schemas.microsoft.com/office/drawing/2014/main" id="{01C3B40F-2419-44DF-B0CA-690AEE461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0716" y="6150773"/>
              <a:ext cx="2651760" cy="527485"/>
            </a:xfrm>
            <a:prstGeom prst="rect">
              <a:avLst/>
            </a:prstGeom>
            <a:grpFill/>
            <a:ln>
              <a:noFill/>
            </a:ln>
          </p:spPr>
        </p:pic>
      </p:grp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A8E399C-83E8-446C-BC23-21670125F6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7255" y="1405224"/>
            <a:ext cx="495094" cy="7616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9B90333-597C-4101-AC45-341C78C100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958" y="1405224"/>
            <a:ext cx="499855" cy="761683"/>
          </a:xfrm>
          <a:prstGeom prst="rect">
            <a:avLst/>
          </a:prstGeom>
        </p:spPr>
      </p:pic>
      <p:pic>
        <p:nvPicPr>
          <p:cNvPr id="10" name="Grafik 9" descr="Ein Bild, das dunkel enthält.&#10;&#10;Automatisch generierte Beschreibung">
            <a:extLst>
              <a:ext uri="{FF2B5EF4-FFF2-40B4-BE49-F238E27FC236}">
                <a16:creationId xmlns:a16="http://schemas.microsoft.com/office/drawing/2014/main" id="{62BC8D62-0FDF-4D86-AB44-9F669BBA24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422" y="1405225"/>
            <a:ext cx="599825" cy="761682"/>
          </a:xfrm>
          <a:prstGeom prst="rect">
            <a:avLst/>
          </a:prstGeom>
        </p:spPr>
      </p:pic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F0A9107D-DFBA-4FB2-816E-2F003FF61F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856" y="1405225"/>
            <a:ext cx="509375" cy="761682"/>
          </a:xfrm>
          <a:prstGeom prst="rect">
            <a:avLst/>
          </a:prstGeom>
        </p:spPr>
      </p:pic>
      <p:pic>
        <p:nvPicPr>
          <p:cNvPr id="15" name="Grafik 14" descr="Ein Bild, das Text, Silhouette enthält.&#10;&#10;Automatisch generierte Beschreibung">
            <a:extLst>
              <a:ext uri="{FF2B5EF4-FFF2-40B4-BE49-F238E27FC236}">
                <a16:creationId xmlns:a16="http://schemas.microsoft.com/office/drawing/2014/main" id="{66EBDEC5-DF09-4E96-A112-300C0FA578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840" y="1405224"/>
            <a:ext cx="523657" cy="761683"/>
          </a:xfrm>
          <a:prstGeom prst="rect">
            <a:avLst/>
          </a:prstGeom>
        </p:spPr>
      </p:pic>
      <p:pic>
        <p:nvPicPr>
          <p:cNvPr id="20" name="Grafik 19" descr="Ein Bild, das Text enthält.&#10;&#10;Automatisch generierte Beschreibung">
            <a:extLst>
              <a:ext uri="{FF2B5EF4-FFF2-40B4-BE49-F238E27FC236}">
                <a16:creationId xmlns:a16="http://schemas.microsoft.com/office/drawing/2014/main" id="{3CA51C51-0B42-47B3-85CB-613FB9747C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8106" y="1405225"/>
            <a:ext cx="466531" cy="76168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11517B1-8164-47C9-8595-DECC8C603CA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3246" y="1405225"/>
            <a:ext cx="537938" cy="761682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98364345-1E30-4E8A-B970-49F7A7FB63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9791" y="1376216"/>
            <a:ext cx="537938" cy="761682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D89D33F2-027F-469C-8E60-098D03EC2A6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650" y="1407185"/>
            <a:ext cx="337996" cy="76168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7BF336E6-2532-4879-B62E-5E68553D6A2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3052" y="2614531"/>
            <a:ext cx="1043617" cy="103666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C2EE2574-6005-4651-8A54-D6202B980CA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264" y="2614531"/>
            <a:ext cx="1043617" cy="103666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DA1A4F5-B315-4AC6-A185-8B4DA471049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476" y="2614531"/>
            <a:ext cx="1043617" cy="1036660"/>
          </a:xfrm>
          <a:prstGeom prst="rect">
            <a:avLst/>
          </a:prstGeom>
        </p:spPr>
      </p:pic>
      <p:pic>
        <p:nvPicPr>
          <p:cNvPr id="34" name="Grafik 33" descr="Ein Bild, das Text, Schild, ClipArt, Erste Hilfe-Kasten enthält.&#10;&#10;Automatisch generierte Beschreibung">
            <a:extLst>
              <a:ext uri="{FF2B5EF4-FFF2-40B4-BE49-F238E27FC236}">
                <a16:creationId xmlns:a16="http://schemas.microsoft.com/office/drawing/2014/main" id="{91BE81CC-2563-40A9-9AF2-D920E3701D3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688" y="2614531"/>
            <a:ext cx="1043617" cy="1036660"/>
          </a:xfrm>
          <a:prstGeom prst="rect">
            <a:avLst/>
          </a:prstGeom>
        </p:spPr>
      </p:pic>
      <p:pic>
        <p:nvPicPr>
          <p:cNvPr id="36" name="Grafik 35" descr="Ein Bild, das Text, Schild, ClipArt, Vektorgrafiken enthält.&#10;&#10;Automatisch generierte Beschreibung">
            <a:extLst>
              <a:ext uri="{FF2B5EF4-FFF2-40B4-BE49-F238E27FC236}">
                <a16:creationId xmlns:a16="http://schemas.microsoft.com/office/drawing/2014/main" id="{2DAF0307-6A4B-4522-9CA5-9903E3FB7C0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900" y="2614532"/>
            <a:ext cx="1043617" cy="1036660"/>
          </a:xfrm>
          <a:prstGeom prst="rect">
            <a:avLst/>
          </a:prstGeom>
        </p:spPr>
      </p:pic>
      <p:pic>
        <p:nvPicPr>
          <p:cNvPr id="38" name="Grafik 37" descr="Ein Bild, das Text, Schild, Vektorgrafiken enthält.&#10;&#10;Automatisch generierte Beschreibung">
            <a:extLst>
              <a:ext uri="{FF2B5EF4-FFF2-40B4-BE49-F238E27FC236}">
                <a16:creationId xmlns:a16="http://schemas.microsoft.com/office/drawing/2014/main" id="{79443D6B-98B7-4AE1-A6F7-801F648CAB4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112" y="2614532"/>
            <a:ext cx="1043617" cy="1036660"/>
          </a:xfrm>
          <a:prstGeom prst="rect">
            <a:avLst/>
          </a:prstGeom>
        </p:spPr>
      </p:pic>
      <p:pic>
        <p:nvPicPr>
          <p:cNvPr id="40" name="Grafik 39" descr="Ein Bild, das Text, Schild, ClipArt enthält.&#10;&#10;Automatisch generierte Beschreibung">
            <a:extLst>
              <a:ext uri="{FF2B5EF4-FFF2-40B4-BE49-F238E27FC236}">
                <a16:creationId xmlns:a16="http://schemas.microsoft.com/office/drawing/2014/main" id="{C587AD93-7B8D-47AC-93E4-9D6663FD06BD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324" y="2614532"/>
            <a:ext cx="1043617" cy="103666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17E43BF9-1B14-4CB3-ACFC-C2740BF426A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536" y="2614532"/>
            <a:ext cx="1043617" cy="103666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C683DD99-7286-461B-A7CF-2DE2DDC6F85E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746" y="2614531"/>
            <a:ext cx="1043617" cy="1036660"/>
          </a:xfrm>
          <a:prstGeom prst="rect">
            <a:avLst/>
          </a:prstGeom>
        </p:spPr>
      </p:pic>
      <p:pic>
        <p:nvPicPr>
          <p:cNvPr id="82" name="Grafik 81" descr="Ein Bild, das Text, Elektronik, iPod enthält.&#10;&#10;Automatisch generierte Beschreibung">
            <a:extLst>
              <a:ext uri="{FF2B5EF4-FFF2-40B4-BE49-F238E27FC236}">
                <a16:creationId xmlns:a16="http://schemas.microsoft.com/office/drawing/2014/main" id="{F4337EAD-0C13-4149-94A2-EEA0FC2ABBB1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0145" y="4016828"/>
            <a:ext cx="1043617" cy="103666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12855731-397F-4FED-BFF7-83D7AA62311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8451" y="4016829"/>
            <a:ext cx="1043617" cy="103666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CE46072B-D5F8-4B0B-A48A-D3BE56212DAB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663" y="4016829"/>
            <a:ext cx="1043617" cy="1036660"/>
          </a:xfrm>
          <a:prstGeom prst="rect">
            <a:avLst/>
          </a:prstGeom>
        </p:spPr>
      </p:pic>
      <p:pic>
        <p:nvPicPr>
          <p:cNvPr id="88" name="Grafik 87" descr="Ein Bild, das Text, Elektronik enthält.&#10;&#10;Automatisch generierte Beschreibung">
            <a:extLst>
              <a:ext uri="{FF2B5EF4-FFF2-40B4-BE49-F238E27FC236}">
                <a16:creationId xmlns:a16="http://schemas.microsoft.com/office/drawing/2014/main" id="{EE039404-0EA8-4002-ABEE-4FB7AF4129E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875" y="4016830"/>
            <a:ext cx="1043617" cy="1036660"/>
          </a:xfrm>
          <a:prstGeom prst="rect">
            <a:avLst/>
          </a:prstGeom>
        </p:spPr>
      </p:pic>
      <p:pic>
        <p:nvPicPr>
          <p:cNvPr id="90" name="Grafik 89" descr="Ein Bild, das Text, Erste Hilfe-Kasten, Schild, Bilderrahmen enthält.&#10;&#10;Automatisch generierte Beschreibung">
            <a:extLst>
              <a:ext uri="{FF2B5EF4-FFF2-40B4-BE49-F238E27FC236}">
                <a16:creationId xmlns:a16="http://schemas.microsoft.com/office/drawing/2014/main" id="{C83A0CD3-8D98-40B4-9D1B-3B5C8CA1DF55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087" y="4016831"/>
            <a:ext cx="1043617" cy="103666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4728763D-94AF-4025-8CC8-F8C0EECF7160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299" y="4016831"/>
            <a:ext cx="1043617" cy="1036660"/>
          </a:xfrm>
          <a:prstGeom prst="rect">
            <a:avLst/>
          </a:prstGeom>
        </p:spPr>
      </p:pic>
      <p:pic>
        <p:nvPicPr>
          <p:cNvPr id="94" name="Grafik 93" descr="Ein Bild, das Text, Elektronik, iPod enthält.&#10;&#10;Automatisch generierte Beschreibung">
            <a:extLst>
              <a:ext uri="{FF2B5EF4-FFF2-40B4-BE49-F238E27FC236}">
                <a16:creationId xmlns:a16="http://schemas.microsoft.com/office/drawing/2014/main" id="{24974FDF-8502-4336-A3D8-9074A8F462E3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11" y="4016832"/>
            <a:ext cx="1043617" cy="103666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6B377491-4742-4ECD-8614-D33F241BA855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9723" y="4016832"/>
            <a:ext cx="1043617" cy="1036660"/>
          </a:xfrm>
          <a:prstGeom prst="rect">
            <a:avLst/>
          </a:prstGeom>
        </p:spPr>
      </p:pic>
      <p:pic>
        <p:nvPicPr>
          <p:cNvPr id="98" name="Grafik 97" descr="Ein Bild, das Text, iPod, Elektronik enthält.&#10;&#10;Automatisch generierte Beschreibung">
            <a:extLst>
              <a:ext uri="{FF2B5EF4-FFF2-40B4-BE49-F238E27FC236}">
                <a16:creationId xmlns:a16="http://schemas.microsoft.com/office/drawing/2014/main" id="{35B10F65-5CD1-41F4-8332-1FD5356FAB57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935" y="4016833"/>
            <a:ext cx="1043617" cy="1036660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3B3B643-8CF9-42CE-9F53-F473F4418E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>
                <a:solidFill>
                  <a:schemeClr val="bg1"/>
                </a:solidFill>
              </a:rPr>
              <a:t>Repository Zahlen</a:t>
            </a:r>
          </a:p>
        </p:txBody>
      </p:sp>
      <p:pic>
        <p:nvPicPr>
          <p:cNvPr id="7" name="Grafik 6" descr="Ein Bild, das Text, iPod, Elektronik enthält.&#10;&#10;Automatisch generierte Beschreibung">
            <a:extLst>
              <a:ext uri="{FF2B5EF4-FFF2-40B4-BE49-F238E27FC236}">
                <a16:creationId xmlns:a16="http://schemas.microsoft.com/office/drawing/2014/main" id="{AF9B8CF1-51BB-4FA1-9D26-F263811FE09D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9" y="4037299"/>
            <a:ext cx="1033437" cy="102489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5D7F2BD-1D20-4DE0-A904-1447B35E038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1" y="2602806"/>
            <a:ext cx="1042605" cy="10339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8BB2FB-304A-4A43-BD72-15727EBBDD1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722" y="1435472"/>
            <a:ext cx="544703" cy="731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17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84EE079-A991-4543-83CC-F7BF67FC67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D9E0DB2-F625-4798-BF09-3373430913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/>
              <a:t>       Die Funktion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CD7D4F-5871-34C3-F861-54394893C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3653"/>
            <a:ext cx="1433384" cy="1373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851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865717" y="2267765"/>
            <a:ext cx="153326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38497" y="226776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2252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12717633" y="1899855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11251458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569070" y="935187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358979" y="1888109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13603494" y="1315174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13462741" y="2268096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15639930" y="1899855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16451204" y="1315174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16161897" y="2268096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18562227" y="189985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19331415" y="1325097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18933823" y="2268096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DEA7770A-9478-803D-5041-F538C170989D}"/>
              </a:ext>
            </a:extLst>
          </p:cNvPr>
          <p:cNvSpPr/>
          <p:nvPr/>
        </p:nvSpPr>
        <p:spPr>
          <a:xfrm flipH="1">
            <a:off x="975861" y="147780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9066837-8C84-EE04-6CDA-0289976501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79" y="147780"/>
            <a:ext cx="525896" cy="522390"/>
          </a:xfrm>
          <a:prstGeom prst="rect">
            <a:avLst/>
          </a:prstGeom>
        </p:spPr>
      </p:pic>
      <p:graphicFrame>
        <p:nvGraphicFramePr>
          <p:cNvPr id="39" name="Tabelle 38">
            <a:extLst>
              <a:ext uri="{FF2B5EF4-FFF2-40B4-BE49-F238E27FC236}">
                <a16:creationId xmlns:a16="http://schemas.microsoft.com/office/drawing/2014/main" id="{200D0572-A84D-56EF-A6AD-222D19066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274495"/>
              </p:ext>
            </p:extLst>
          </p:nvPr>
        </p:nvGraphicFramePr>
        <p:xfrm>
          <a:off x="528154" y="2341410"/>
          <a:ext cx="10725006" cy="3627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59384">
                  <a:extLst>
                    <a:ext uri="{9D8B030D-6E8A-4147-A177-3AD203B41FA5}">
                      <a16:colId xmlns:a16="http://schemas.microsoft.com/office/drawing/2014/main" val="2682632108"/>
                    </a:ext>
                  </a:extLst>
                </a:gridCol>
                <a:gridCol w="2965622">
                  <a:extLst>
                    <a:ext uri="{9D8B030D-6E8A-4147-A177-3AD203B41FA5}">
                      <a16:colId xmlns:a16="http://schemas.microsoft.com/office/drawing/2014/main" val="498007023"/>
                    </a:ext>
                  </a:extLst>
                </a:gridCol>
              </a:tblGrid>
              <a:tr h="396637">
                <a:tc>
                  <a:txBody>
                    <a:bodyPr/>
                    <a:lstStyle/>
                    <a:p>
                      <a:r>
                        <a:rPr lang="de-DE" sz="160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302206"/>
                  </a:ext>
                </a:extLst>
              </a:tr>
              <a:tr h="3305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2023-11-01 12:01:33.801              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Datum und Uhrz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6725806"/>
                  </a:ext>
                </a:extLst>
              </a:tr>
              <a:tr h="3305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IN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Loglevel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3002387"/>
                  </a:ext>
                </a:extLst>
              </a:tr>
              <a:tr h="3305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{taskExecutor-scheduler-22}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Thr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055314"/>
                  </a:ext>
                </a:extLst>
              </a:tr>
              <a:tr h="3305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[001] [</a:t>
                      </a:r>
                      <a:r>
                        <a:rPr lang="de-DE" sz="1600" err="1"/>
                        <a:t>ClientSystemServiceImpl</a:t>
                      </a:r>
                      <a:r>
                        <a:rPr lang="de-DE" sz="1600"/>
                        <a:t>]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Unbekan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373056"/>
                  </a:ext>
                </a:extLst>
              </a:tr>
              <a:tr h="623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PingResponse</a:t>
                      </a:r>
                      <a:r>
                        <a:rPr lang="de-DE" sz="1600"/>
                        <a:t>[</a:t>
                      </a:r>
                      <a:r>
                        <a:rPr lang="de-DE" sz="1600" err="1"/>
                        <a:t>workstationCommand</a:t>
                      </a:r>
                      <a:r>
                        <a:rPr lang="de-DE" sz="1600"/>
                        <a:t>=</a:t>
                      </a:r>
                      <a:r>
                        <a:rPr lang="de-DE" sz="1600" err="1"/>
                        <a:t>null;workstationStatusToken</a:t>
                      </a:r>
                      <a:r>
                        <a:rPr lang="de-DE" sz="1600"/>
                        <a:t>=a6d2da882c75446494058b3597744475; xXCustom1-15=null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Messag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/>
                        <a:t>(xXCustom1-15 sind immer „null“)</a:t>
                      </a:r>
                    </a:p>
                    <a:p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8447631"/>
                  </a:ext>
                </a:extLst>
              </a:tr>
              <a:tr h="732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/>
                        <a:t>for</a:t>
                      </a:r>
                      <a:r>
                        <a:rPr lang="de-DE" sz="1600"/>
                        <a:t> </a:t>
                      </a:r>
                      <a:r>
                        <a:rPr lang="de-DE" sz="1600" err="1"/>
                        <a:t>PingRequest</a:t>
                      </a:r>
                      <a:r>
                        <a:rPr lang="de-DE" sz="1600"/>
                        <a:t>[</a:t>
                      </a:r>
                      <a:r>
                        <a:rPr lang="de-DE" sz="1600" err="1"/>
                        <a:t>businessUnitId</a:t>
                      </a:r>
                      <a:r>
                        <a:rPr lang="de-DE" sz="1600"/>
                        <a:t>=&lt;NL-</a:t>
                      </a:r>
                      <a:r>
                        <a:rPr lang="de-DE" sz="1600" err="1"/>
                        <a:t>nr</a:t>
                      </a:r>
                      <a:r>
                        <a:rPr lang="de-DE" sz="1600"/>
                        <a:t>&gt;;</a:t>
                      </a:r>
                      <a:r>
                        <a:rPr lang="de-DE" sz="1600" err="1"/>
                        <a:t>workstationId</a:t>
                      </a:r>
                      <a:r>
                        <a:rPr lang="de-DE" sz="1600"/>
                        <a:t>=&lt;</a:t>
                      </a:r>
                      <a:r>
                        <a:rPr lang="de-DE" sz="1600" err="1"/>
                        <a:t>ws</a:t>
                      </a:r>
                      <a:r>
                        <a:rPr lang="de-DE" sz="1600"/>
                        <a:t>-ID&gt;;</a:t>
                      </a:r>
                      <a:r>
                        <a:rPr lang="de-DE" sz="1600" err="1"/>
                        <a:t>workstationAddress</a:t>
                      </a:r>
                      <a:r>
                        <a:rPr lang="de-DE" sz="1600"/>
                        <a:t>=i&lt;p-domain&gt;;</a:t>
                      </a:r>
                      <a:r>
                        <a:rPr lang="de-DE" sz="1600" err="1"/>
                        <a:t>workstationStatusToken</a:t>
                      </a:r>
                      <a:r>
                        <a:rPr lang="de-DE" sz="1600"/>
                        <a:t>=&lt;</a:t>
                      </a:r>
                      <a:r>
                        <a:rPr lang="de-DE" sz="1600" err="1"/>
                        <a:t>statusToken</a:t>
                      </a:r>
                      <a:r>
                        <a:rPr lang="de-DE" sz="1600"/>
                        <a:t>&gt;; xXCustom1-15=null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Message</a:t>
                      </a:r>
                    </a:p>
                    <a:p>
                      <a:r>
                        <a:rPr lang="de-DE" sz="1600"/>
                        <a:t>(xXCustom1-15 sind immer „null“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84281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934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online ist (jede 15 s.)</a:t>
            </a:r>
          </a:p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35785" y="2267765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38497" y="226776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61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82007" y="1899523"/>
            <a:ext cx="11438518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-2856730" y="1899521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online ist (jede 15 s.)</a:t>
            </a:r>
          </a:p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endParaRPr lang="de-DE" sz="1600"/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-2168824" y="1318612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-2378915" y="2271534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556183" y="937071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15430" y="1889993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12503030" y="1899522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13314304" y="1314841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13024997" y="2267763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15425327" y="1899521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16194515" y="1324764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15796923" y="2267763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2" name="Rechteck: eine Ecke abgeschnitten 15">
            <a:extLst>
              <a:ext uri="{FF2B5EF4-FFF2-40B4-BE49-F238E27FC236}">
                <a16:creationId xmlns:a16="http://schemas.microsoft.com/office/drawing/2014/main" id="{BCB6F9E7-B2AB-CF40-0D12-954C8CF0FC04}"/>
              </a:ext>
            </a:extLst>
          </p:cNvPr>
          <p:cNvSpPr/>
          <p:nvPr/>
        </p:nvSpPr>
        <p:spPr>
          <a:xfrm flipH="1">
            <a:off x="998889" y="148721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E6EC188-DE73-E70F-5977-9FC8F64213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07" y="148721"/>
            <a:ext cx="525896" cy="522390"/>
          </a:xfrm>
          <a:prstGeom prst="rect">
            <a:avLst/>
          </a:prstGeom>
        </p:spPr>
      </p:pic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94A7B63F-10F5-3F64-1622-E14A3008E8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671283"/>
              </p:ext>
            </p:extLst>
          </p:nvPr>
        </p:nvGraphicFramePr>
        <p:xfrm>
          <a:off x="560787" y="2267763"/>
          <a:ext cx="11093917" cy="382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3902">
                  <a:extLst>
                    <a:ext uri="{9D8B030D-6E8A-4147-A177-3AD203B41FA5}">
                      <a16:colId xmlns:a16="http://schemas.microsoft.com/office/drawing/2014/main" val="4082678069"/>
                    </a:ext>
                  </a:extLst>
                </a:gridCol>
                <a:gridCol w="1870015">
                  <a:extLst>
                    <a:ext uri="{9D8B030D-6E8A-4147-A177-3AD203B41FA5}">
                      <a16:colId xmlns:a16="http://schemas.microsoft.com/office/drawing/2014/main" val="3434263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/>
                        <a:t>Inh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Beschreib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2511896"/>
                  </a:ext>
                </a:extLst>
              </a:tr>
              <a:tr h="302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2023-11-01 15:14:33.80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Datum und Uhrz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899140"/>
                  </a:ext>
                </a:extLst>
              </a:tr>
              <a:tr h="3130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INFO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Loglevel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503153"/>
                  </a:ext>
                </a:extLst>
              </a:tr>
              <a:tr h="2990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{taskExecutor-scheduler-33}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Thr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903890"/>
                  </a:ext>
                </a:extLst>
              </a:tr>
              <a:tr h="322076">
                <a:tc>
                  <a:txBody>
                    <a:bodyPr/>
                    <a:lstStyle/>
                    <a:p>
                      <a:r>
                        <a:rPr lang="de-DE" sz="1600"/>
                        <a:t>[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001</a:t>
                      </a:r>
                      <a:r>
                        <a:rPr lang="de-DE" sz="160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Unbekan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9735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/>
                        <a:t>[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RemoteClientService</a:t>
                      </a:r>
                      <a:r>
                        <a:rPr lang="de-DE" sz="1600"/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Funk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861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LoginManagerRestApi.setWorkstationStatus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(..)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returned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instanc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of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WorkstationStatusRespons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at </a:t>
                      </a:r>
                      <a:r>
                        <a:rPr lang="de-DE" sz="1600">
                          <a:solidFill>
                            <a:srgbClr val="000000"/>
                          </a:solidFill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://.../SERVICES{RemoteProxy@2303bc8b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Adres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46777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ServerInstanc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[online=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tru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,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lastAccessTim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=1698848058803,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lastThrowable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=null,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authority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=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gkp.de.bauhaus.intra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],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Mess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4515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HTTPConduit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sz="1600" err="1">
                          <a:solidFill>
                            <a:srgbClr val="000000"/>
                          </a:solidFill>
                        </a:rPr>
                        <a:t>cookies</a:t>
                      </a:r>
                      <a:r>
                        <a:rPr lang="de-DE" sz="1600">
                          <a:solidFill>
                            <a:srgbClr val="000000"/>
                          </a:solidFill>
                        </a:rPr>
                        <a:t> = {JSESSIONID=TR2xnh4ZP2oHIc41eS5JxwRSUvGIiwFPcaon_SAPn0yrG-9rO4dgWs1Rs5dzKPVjsaplb_*=(J2EE665481520)665481551}}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err="1"/>
                        <a:t>JSession</a:t>
                      </a:r>
                      <a:endParaRPr lang="de-DE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8880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664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D0B614-23B4-4B4A-9BA7-69A6E903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wrap="square" lIns="0" tIns="0" rIns="91440" bIns="0" anchor="t">
            <a:spAutoFit/>
          </a:bodyPr>
          <a:lstStyle/>
          <a:p>
            <a:endParaRPr lang="de-DE"/>
          </a:p>
        </p:txBody>
      </p:sp>
      <p:sp>
        <p:nvSpPr>
          <p:cNvPr id="24" name="Rechteck: eine Ecke abgeschnitten 23">
            <a:extLst>
              <a:ext uri="{FF2B5EF4-FFF2-40B4-BE49-F238E27FC236}">
                <a16:creationId xmlns:a16="http://schemas.microsoft.com/office/drawing/2014/main" id="{413BCE8C-1BC2-4B3F-A116-C80BF8F6DB75}"/>
              </a:ext>
            </a:extLst>
          </p:cNvPr>
          <p:cNvSpPr/>
          <p:nvPr/>
        </p:nvSpPr>
        <p:spPr>
          <a:xfrm flipH="1">
            <a:off x="3294233" y="1899524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innerhalb der Domain erreichbar (jede 15 s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26" name="Rechteck: eine Ecke abgeschnitten 25">
            <a:extLst>
              <a:ext uri="{FF2B5EF4-FFF2-40B4-BE49-F238E27FC236}">
                <a16:creationId xmlns:a16="http://schemas.microsoft.com/office/drawing/2014/main" id="{5D4D6EE1-12D7-45CC-BFCB-C0B2BE05D8E2}"/>
              </a:ext>
            </a:extLst>
          </p:cNvPr>
          <p:cNvSpPr/>
          <p:nvPr/>
        </p:nvSpPr>
        <p:spPr>
          <a:xfrm flipH="1">
            <a:off x="371472" y="1895754"/>
            <a:ext cx="2700000" cy="44482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solidFill>
              <a:srgbClr val="E8E8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Sicherstellung, ob Kasse online (jede 15 s.)</a:t>
            </a:r>
          </a:p>
          <a:p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Wenn offline, Log auf Error-Level -&gt; für Auswertung obso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&lt; 15 s. offline -&gt; verbleibt im reduzierte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rgbClr val="000000"/>
                </a:solidFill>
              </a:rPr>
              <a:t>2*4*60 = 480 Zeilen weniger pro Stunde </a:t>
            </a:r>
          </a:p>
        </p:txBody>
      </p:sp>
      <p:sp>
        <p:nvSpPr>
          <p:cNvPr id="41" name="Flussdiagramm: Verbinder 40">
            <a:extLst>
              <a:ext uri="{FF2B5EF4-FFF2-40B4-BE49-F238E27FC236}">
                <a16:creationId xmlns:a16="http://schemas.microsoft.com/office/drawing/2014/main" id="{35FB71BC-8427-41FC-BF48-558940FA0643}"/>
              </a:ext>
            </a:extLst>
          </p:cNvPr>
          <p:cNvSpPr/>
          <p:nvPr/>
        </p:nvSpPr>
        <p:spPr>
          <a:xfrm>
            <a:off x="1145876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CuadroTexto 395">
            <a:extLst>
              <a:ext uri="{FF2B5EF4-FFF2-40B4-BE49-F238E27FC236}">
                <a16:creationId xmlns:a16="http://schemas.microsoft.com/office/drawing/2014/main" id="{E392F8C6-73BE-4A39-9440-E57E770C7C1A}"/>
              </a:ext>
            </a:extLst>
          </p:cNvPr>
          <p:cNvSpPr txBox="1"/>
          <p:nvPr/>
        </p:nvSpPr>
        <p:spPr>
          <a:xfrm>
            <a:off x="935785" y="2267765"/>
            <a:ext cx="1419406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cap="all">
                <a:latin typeface="+mj-lt"/>
                <a:ea typeface="Lato" charset="0"/>
                <a:cs typeface="Lato" charset="0"/>
              </a:defRPr>
            </a:lvl1pPr>
          </a:lstStyle>
          <a:p>
            <a:pPr algn="ctr"/>
            <a:r>
              <a:rPr lang="de-DE" sz="1400" b="1" err="1">
                <a:solidFill>
                  <a:srgbClr val="FF0000"/>
                </a:solidFill>
              </a:rPr>
              <a:t>Pingresponse</a:t>
            </a:r>
            <a:endParaRPr lang="de-DE" sz="1400" b="1">
              <a:solidFill>
                <a:srgbClr val="FF0000"/>
              </a:solidFill>
            </a:endParaRPr>
          </a:p>
        </p:txBody>
      </p:sp>
      <p:sp>
        <p:nvSpPr>
          <p:cNvPr id="49" name="Flussdiagramm: Verbinder 48">
            <a:extLst>
              <a:ext uri="{FF2B5EF4-FFF2-40B4-BE49-F238E27FC236}">
                <a16:creationId xmlns:a16="http://schemas.microsoft.com/office/drawing/2014/main" id="{D81E3A13-6B2E-44DC-AEC2-DCDE322D15BE}"/>
              </a:ext>
            </a:extLst>
          </p:cNvPr>
          <p:cNvSpPr/>
          <p:nvPr/>
        </p:nvSpPr>
        <p:spPr>
          <a:xfrm>
            <a:off x="4180094" y="1314843"/>
            <a:ext cx="1040400" cy="1040400"/>
          </a:xfrm>
          <a:prstGeom prst="flowChartConnector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CuadroTexto 395">
            <a:extLst>
              <a:ext uri="{FF2B5EF4-FFF2-40B4-BE49-F238E27FC236}">
                <a16:creationId xmlns:a16="http://schemas.microsoft.com/office/drawing/2014/main" id="{09B0DA1A-2912-4BB3-834A-13C3B066F15B}"/>
              </a:ext>
            </a:extLst>
          </p:cNvPr>
          <p:cNvSpPr txBox="1"/>
          <p:nvPr/>
        </p:nvSpPr>
        <p:spPr>
          <a:xfrm>
            <a:off x="4039341" y="2267765"/>
            <a:ext cx="1371351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Loginmanager</a:t>
            </a:r>
            <a:endParaRPr lang="de-DE"/>
          </a:p>
        </p:txBody>
      </p:sp>
      <p:sp>
        <p:nvSpPr>
          <p:cNvPr id="52" name="Rechteck: eine Ecke abgeschnitten 51">
            <a:extLst>
              <a:ext uri="{FF2B5EF4-FFF2-40B4-BE49-F238E27FC236}">
                <a16:creationId xmlns:a16="http://schemas.microsoft.com/office/drawing/2014/main" id="{59B20F86-5977-42BC-B70D-11FE09F9817B}"/>
              </a:ext>
            </a:extLst>
          </p:cNvPr>
          <p:cNvSpPr/>
          <p:nvPr/>
        </p:nvSpPr>
        <p:spPr>
          <a:xfrm flipH="1">
            <a:off x="6216530" y="1899524"/>
            <a:ext cx="2700000" cy="4444125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308BDE74-CFF7-4F5D-9376-BDAFB258D07E}"/>
              </a:ext>
            </a:extLst>
          </p:cNvPr>
          <p:cNvSpPr/>
          <p:nvPr/>
        </p:nvSpPr>
        <p:spPr>
          <a:xfrm>
            <a:off x="7027804" y="1314843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CuadroTexto 395">
            <a:extLst>
              <a:ext uri="{FF2B5EF4-FFF2-40B4-BE49-F238E27FC236}">
                <a16:creationId xmlns:a16="http://schemas.microsoft.com/office/drawing/2014/main" id="{B2F4124A-1771-4749-B665-FB0ACF1E454A}"/>
              </a:ext>
            </a:extLst>
          </p:cNvPr>
          <p:cNvSpPr txBox="1"/>
          <p:nvPr/>
        </p:nvSpPr>
        <p:spPr>
          <a:xfrm>
            <a:off x="6738497" y="2267765"/>
            <a:ext cx="1619014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MessageProvider</a:t>
            </a:r>
            <a:endParaRPr lang="de-DE"/>
          </a:p>
        </p:txBody>
      </p:sp>
      <p:sp>
        <p:nvSpPr>
          <p:cNvPr id="59" name="Rechteck: eine Ecke abgeschnitten 58">
            <a:extLst>
              <a:ext uri="{FF2B5EF4-FFF2-40B4-BE49-F238E27FC236}">
                <a16:creationId xmlns:a16="http://schemas.microsoft.com/office/drawing/2014/main" id="{8A324FC1-D759-4FFA-B534-548DC2135605}"/>
              </a:ext>
            </a:extLst>
          </p:cNvPr>
          <p:cNvSpPr/>
          <p:nvPr/>
        </p:nvSpPr>
        <p:spPr>
          <a:xfrm flipH="1">
            <a:off x="9138827" y="1899523"/>
            <a:ext cx="2700000" cy="4444124"/>
          </a:xfrm>
          <a:prstGeom prst="snip1Rect">
            <a:avLst>
              <a:gd name="adj" fmla="val 0"/>
            </a:avLst>
          </a:prstGeom>
          <a:solidFill>
            <a:srgbClr val="E8E8EB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lussdiagramm: Verbinder 60">
            <a:extLst>
              <a:ext uri="{FF2B5EF4-FFF2-40B4-BE49-F238E27FC236}">
                <a16:creationId xmlns:a16="http://schemas.microsoft.com/office/drawing/2014/main" id="{CB1C8710-3587-4251-90FD-67B1993A8F70}"/>
              </a:ext>
            </a:extLst>
          </p:cNvPr>
          <p:cNvSpPr/>
          <p:nvPr/>
        </p:nvSpPr>
        <p:spPr>
          <a:xfrm>
            <a:off x="9908015" y="1324766"/>
            <a:ext cx="1040400" cy="1040400"/>
          </a:xfrm>
          <a:prstGeom prst="flowChartConnector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4"/>
              </a:solidFill>
            </a:endParaRPr>
          </a:p>
        </p:txBody>
      </p:sp>
      <p:sp>
        <p:nvSpPr>
          <p:cNvPr id="62" name="CuadroTexto 395">
            <a:extLst>
              <a:ext uri="{FF2B5EF4-FFF2-40B4-BE49-F238E27FC236}">
                <a16:creationId xmlns:a16="http://schemas.microsoft.com/office/drawing/2014/main" id="{297F1106-90D5-4A8A-9335-6897B524F547}"/>
              </a:ext>
            </a:extLst>
          </p:cNvPr>
          <p:cNvSpPr txBox="1"/>
          <p:nvPr/>
        </p:nvSpPr>
        <p:spPr>
          <a:xfrm>
            <a:off x="9510423" y="2267765"/>
            <a:ext cx="1957287" cy="215444"/>
          </a:xfrm>
          <a:prstGeom prst="rect">
            <a:avLst/>
          </a:prstGeom>
          <a:solidFill>
            <a:srgbClr val="E8E8EB">
              <a:alpha val="90000"/>
            </a:srgbClr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400" b="1" cap="all">
                <a:solidFill>
                  <a:srgbClr val="FF0000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r>
              <a:rPr lang="de-DE" err="1"/>
              <a:t>IPingservice</a:t>
            </a:r>
            <a:endParaRPr lang="de-DE"/>
          </a:p>
        </p:txBody>
      </p:sp>
      <p:sp>
        <p:nvSpPr>
          <p:cNvPr id="5" name="Rechteck: eine Ecke abgeschnitten 15">
            <a:extLst>
              <a:ext uri="{FF2B5EF4-FFF2-40B4-BE49-F238E27FC236}">
                <a16:creationId xmlns:a16="http://schemas.microsoft.com/office/drawing/2014/main" id="{0ADE17FE-F825-E4ED-2DBD-87C4ECF96F86}"/>
              </a:ext>
            </a:extLst>
          </p:cNvPr>
          <p:cNvSpPr/>
          <p:nvPr/>
        </p:nvSpPr>
        <p:spPr>
          <a:xfrm flipH="1">
            <a:off x="954118" y="152989"/>
            <a:ext cx="6451951" cy="522390"/>
          </a:xfrm>
          <a:prstGeom prst="snip1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de-DE" sz="3200">
                <a:solidFill>
                  <a:srgbClr val="000000"/>
                </a:solidFill>
              </a:rPr>
              <a:t>  Reduzieren von Logfil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430CB9A-7114-8F5A-45E3-3978DDCC2C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36" y="152989"/>
            <a:ext cx="525896" cy="52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890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HDS" val="True"/>
  <p:tag name="MIO_SKIPVERSION" val="01.01.0001 00:00:00"/>
  <p:tag name="MIO_EKGUID" val="ef0137d4-1f13-4041-8a29-bac90452e981"/>
  <p:tag name="MIO_UPDATE" val="True"/>
  <p:tag name="MIO_VERSION" val="18.12.2019 14:11:50"/>
  <p:tag name="MIO_DBID" val="66BFB6BD-039F-4C77-8E3B-E7FED8586D22"/>
  <p:tag name="MIO_LASTDOWNLOADED" val="18.02.2020 09:30:11"/>
  <p:tag name="MIO_OBJECTNAME" val="Kraus &amp; Partner 16:9"/>
  <p:tag name="MIO_LASTEDITORNAME" val="veren "/>
  <p:tag name="MIO_CDID" val="1ad1e7f9-90bb-46e6-8eab-b65f9ad6ad62"/>
  <p:tag name="MIO_FALLBACK_LAYOUT" val="4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Titelfolien &amp; Kapiteltrenner">
  <a:themeElements>
    <a:clrScheme name="Benutzerdefiniert 3">
      <a:dk1>
        <a:srgbClr val="2C2F33"/>
      </a:dk1>
      <a:lt1>
        <a:srgbClr val="FFFFFF"/>
      </a:lt1>
      <a:dk2>
        <a:srgbClr val="DBDCE0"/>
      </a:dk2>
      <a:lt2>
        <a:srgbClr val="B6BBC2"/>
      </a:lt2>
      <a:accent1>
        <a:srgbClr val="949AA2"/>
      </a:accent1>
      <a:accent2>
        <a:srgbClr val="747B83"/>
      </a:accent2>
      <a:accent3>
        <a:srgbClr val="565B63"/>
      </a:accent3>
      <a:accent4>
        <a:srgbClr val="2C2F33"/>
      </a:accent4>
      <a:accent5>
        <a:srgbClr val="DC2127"/>
      </a:accent5>
      <a:accent6>
        <a:srgbClr val="EE1F26"/>
      </a:accent6>
      <a:hlink>
        <a:srgbClr val="FFE805"/>
      </a:hlink>
      <a:folHlink>
        <a:srgbClr val="FF9900"/>
      </a:folHlink>
    </a:clrScheme>
    <a:fontScheme name="Bauhaus CI Schrift">
      <a:majorFont>
        <a:latin typeface="Taz Bold"/>
        <a:ea typeface=""/>
        <a:cs typeface=""/>
      </a:majorFont>
      <a:minorFont>
        <a:latin typeface="Taz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UHAUS Akademie Inhaltsfolien">
  <a:themeElements>
    <a:clrScheme name="Benutzerdefiniert 3">
      <a:dk1>
        <a:srgbClr val="2C2F33"/>
      </a:dk1>
      <a:lt1>
        <a:srgbClr val="FFFFFF"/>
      </a:lt1>
      <a:dk2>
        <a:srgbClr val="DBDCE0"/>
      </a:dk2>
      <a:lt2>
        <a:srgbClr val="B6BBC2"/>
      </a:lt2>
      <a:accent1>
        <a:srgbClr val="949AA2"/>
      </a:accent1>
      <a:accent2>
        <a:srgbClr val="747B83"/>
      </a:accent2>
      <a:accent3>
        <a:srgbClr val="565B63"/>
      </a:accent3>
      <a:accent4>
        <a:srgbClr val="2C2F33"/>
      </a:accent4>
      <a:accent5>
        <a:srgbClr val="DC2127"/>
      </a:accent5>
      <a:accent6>
        <a:srgbClr val="EE1F26"/>
      </a:accent6>
      <a:hlink>
        <a:srgbClr val="FFE805"/>
      </a:hlink>
      <a:folHlink>
        <a:srgbClr val="FF9900"/>
      </a:folHlink>
    </a:clrScheme>
    <a:fontScheme name="Bauhaus CI Schrift">
      <a:majorFont>
        <a:latin typeface="Taz Bold"/>
        <a:ea typeface=""/>
        <a:cs typeface=""/>
      </a:majorFont>
      <a:minorFont>
        <a:latin typeface="Taz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Kraus &amp; Partner 16:9 - blau">
  <a:themeElements>
    <a:clrScheme name="Kraus-Partner">
      <a:dk1>
        <a:srgbClr val="323332"/>
      </a:dk1>
      <a:lt1>
        <a:sysClr val="window" lastClr="FFFFFF"/>
      </a:lt1>
      <a:dk2>
        <a:srgbClr val="1D3385"/>
      </a:dk2>
      <a:lt2>
        <a:srgbClr val="E1E4EA"/>
      </a:lt2>
      <a:accent1>
        <a:srgbClr val="5B6071"/>
      </a:accent1>
      <a:accent2>
        <a:srgbClr val="9BA7BA"/>
      </a:accent2>
      <a:accent3>
        <a:srgbClr val="D7DCE3"/>
      </a:accent3>
      <a:accent4>
        <a:srgbClr val="323332"/>
      </a:accent4>
      <a:accent5>
        <a:srgbClr val="6E6D70"/>
      </a:accent5>
      <a:accent6>
        <a:srgbClr val="B6B6B7"/>
      </a:accent6>
      <a:hlink>
        <a:srgbClr val="DE6F03"/>
      </a:hlink>
      <a:folHlink>
        <a:srgbClr val="1D3385"/>
      </a:folHlink>
    </a:clrScheme>
    <a:fontScheme name="Kraus-Partner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36000" tIns="36000" rIns="36000" bIns="36000"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noFill/>
        <a:ln w="6350">
          <a:solidFill>
            <a:schemeClr val="accent4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:p="http://schemas.openxmlformats.org/presentationml/2006/main" xmlns:r="http://schemas.openxmlformats.org/officeDocument/2006/relationships" xmlns:thm15="http://schemas.microsoft.com/office/thememl/2012/main" xmlns="">
              <a:noFill/>
            </a14:hiddenFill>
          </a:ext>
          <a:ext uri="{AF507438-7753-43e0-B8FC-AC1667EBCBE1}">
            <a14:hiddenEffects xmlns:a14="http://schemas.microsoft.com/office/drawing/2010/main" xmlns:p="http://schemas.openxmlformats.org/presentationml/2006/main" xmlns:r="http://schemas.openxmlformats.org/officeDocument/2006/relationships" xmlns:thm15="http://schemas.microsoft.com/office/thememl/2012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71450" indent="-171450" algn="l">
          <a:buClr>
            <a:schemeClr val="tx2"/>
          </a:buClr>
          <a:buFont typeface="Franklin Gothic Book" panose="020B0503020102020204" pitchFamily="34" charset="0"/>
          <a:buChar char="&gt;"/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9526DC5-4968-42B0-B319-7AF557051284}">
  <we:reference id="30ab5e52-4882-4d4b-aa5d-a8cdc8f5569c" version="8.3.0.2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7f3234-c5da-4b7d-9489-ef2c0527cbf3">
      <Terms xmlns="http://schemas.microsoft.com/office/infopath/2007/PartnerControls"/>
    </lcf76f155ced4ddcb4097134ff3c332f>
    <TaxCatchAll xmlns="b2f4bbac-074f-4ac5-9407-b8b7ed2b67c4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6ED14F65EAAD440B96509976AEC57F6" ma:contentTypeVersion="16" ma:contentTypeDescription="Ein neues Dokument erstellen." ma:contentTypeScope="" ma:versionID="fca56f633140909b9f5f5f0b21f6cdb5">
  <xsd:schema xmlns:xsd="http://www.w3.org/2001/XMLSchema" xmlns:xs="http://www.w3.org/2001/XMLSchema" xmlns:p="http://schemas.microsoft.com/office/2006/metadata/properties" xmlns:ns1="http://schemas.microsoft.com/sharepoint/v3" xmlns:ns2="f37f3234-c5da-4b7d-9489-ef2c0527cbf3" xmlns:ns3="b2f4bbac-074f-4ac5-9407-b8b7ed2b67c4" targetNamespace="http://schemas.microsoft.com/office/2006/metadata/properties" ma:root="true" ma:fieldsID="a25dfe49e625a51538aab6a25c43a9cc" ns1:_="" ns2:_="" ns3:_="">
    <xsd:import namespace="http://schemas.microsoft.com/sharepoint/v3"/>
    <xsd:import namespace="f37f3234-c5da-4b7d-9489-ef2c0527cbf3"/>
    <xsd:import namespace="b2f4bbac-074f-4ac5-9407-b8b7ed2b67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7f3234-c5da-4b7d-9489-ef2c0527cb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9e03476a-4b15-4ff8-83a8-5d442d10f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f4bbac-074f-4ac5-9407-b8b7ed2b67c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9301fa63-6b4c-4a5c-abc0-ef1df1626b5d}" ma:internalName="TaxCatchAll" ma:showField="CatchAllData" ma:web="b2f4bbac-074f-4ac5-9407-b8b7ed2b67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C5DE51-2E54-46D1-BBC6-BCB6AFAB1C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A477A4-6F08-4A01-9948-DD6358CC47C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b2f4bbac-074f-4ac5-9407-b8b7ed2b67c4"/>
    <ds:schemaRef ds:uri="f37f3234-c5da-4b7d-9489-ef2c0527cbf3"/>
    <ds:schemaRef ds:uri="http://schemas.microsoft.com/office/2006/documentManagement/types"/>
    <ds:schemaRef ds:uri="http://schemas.microsoft.com/sharepoint/v3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B25D8B2-DCE4-4510-A679-3B6791D8B1F8}">
  <ds:schemaRefs>
    <ds:schemaRef ds:uri="b2f4bbac-074f-4ac5-9407-b8b7ed2b67c4"/>
    <ds:schemaRef ds:uri="f37f3234-c5da-4b7d-9489-ef2c0527cbf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113</Words>
  <Application>Microsoft Office PowerPoint</Application>
  <PresentationFormat>Breitbild</PresentationFormat>
  <Paragraphs>444</Paragraphs>
  <Slides>37</Slides>
  <Notes>28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37</vt:i4>
      </vt:variant>
    </vt:vector>
  </HeadingPairs>
  <TitlesOfParts>
    <vt:vector size="52" baseType="lpstr">
      <vt:lpstr>Arial</vt:lpstr>
      <vt:lpstr>Bosch Office Sans</vt:lpstr>
      <vt:lpstr>Calibri</vt:lpstr>
      <vt:lpstr>Franklin Gothic Book</vt:lpstr>
      <vt:lpstr>Franklin Gothic Medium</vt:lpstr>
      <vt:lpstr>Symbol</vt:lpstr>
      <vt:lpstr>Taz</vt:lpstr>
      <vt:lpstr>Taz (Textkörper)</vt:lpstr>
      <vt:lpstr>Taz Bold</vt:lpstr>
      <vt:lpstr>Taz Bold (Überschriften)</vt:lpstr>
      <vt:lpstr>Wingdings</vt:lpstr>
      <vt:lpstr>Wingdings 3</vt:lpstr>
      <vt:lpstr>Titelfolien &amp; Kapiteltrenner</vt:lpstr>
      <vt:lpstr>BAUHAUS Akademie Inhaltsfolien</vt:lpstr>
      <vt:lpstr>2_Kraus &amp; Partner 16:9 - blau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y Plößer</dc:creator>
  <cp:lastModifiedBy>Kotte, Philipp</cp:lastModifiedBy>
  <cp:revision>2</cp:revision>
  <cp:lastPrinted>2021-09-15T06:00:17Z</cp:lastPrinted>
  <dcterms:created xsi:type="dcterms:W3CDTF">2021-04-19T06:46:38Z</dcterms:created>
  <dcterms:modified xsi:type="dcterms:W3CDTF">2024-02-15T18:5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D14F65EAAD440B96509976AEC57F6</vt:lpwstr>
  </property>
  <property fmtid="{D5CDD505-2E9C-101B-9397-08002B2CF9AE}" pid="3" name="MediaServiceImageTags">
    <vt:lpwstr/>
  </property>
</Properties>
</file>